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4"/>
    <p:sldMasterId id="2147483712" r:id="rId5"/>
    <p:sldMasterId id="2147483734" r:id="rId6"/>
  </p:sldMasterIdLst>
  <p:notesMasterIdLst>
    <p:notesMasterId r:id="rId9"/>
  </p:notesMasterIdLst>
  <p:handoutMasterIdLst>
    <p:handoutMasterId r:id="rId10"/>
  </p:handoutMasterIdLst>
  <p:sldIdLst>
    <p:sldId id="1378" r:id="rId7"/>
    <p:sldId id="258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1pPr>
    <a:lvl2pPr marL="609356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2pPr>
    <a:lvl3pPr marL="1218712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3pPr>
    <a:lvl4pPr marL="1828068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4pPr>
    <a:lvl5pPr marL="2437425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5pPr>
    <a:lvl6pPr marL="3046781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6pPr>
    <a:lvl7pPr marL="3656137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7pPr>
    <a:lvl8pPr marL="4265493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8pPr>
    <a:lvl9pPr marL="4874849" algn="l" defTabSz="609356" rtl="0" eaLnBrk="1" latinLnBrk="0" hangingPunct="1">
      <a:defRPr sz="23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98"/>
    <a:srgbClr val="747474"/>
    <a:srgbClr val="77BC1F"/>
    <a:srgbClr val="A0A0A0"/>
    <a:srgbClr val="01AB7E"/>
    <a:srgbClr val="00A879"/>
    <a:srgbClr val="00A779"/>
    <a:srgbClr val="588A60"/>
    <a:srgbClr val="0C8663"/>
    <a:srgbClr val="0B7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43ABB-3E51-4538-8655-E937B7689638}" v="4" dt="2025-08-21T16:49:50.734"/>
  </p1510:revLst>
</p1510:revInfo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68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548" y="10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256B671-DB67-4F93-8A51-70E124C085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5F1DFB-FAF5-425E-859E-72EED459EB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9460D7-8421-4F31-B03E-F6097FBC4E80}" type="datetimeFigureOut">
              <a:rPr lang="en-US"/>
              <a:t>11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6381CB-3599-41FF-9F22-4181A7D8FC8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CC06C-521A-43DC-8B81-639141FF2A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0B5AA-197D-416A-8948-256E229D1E44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4231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6:00:31.80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24575,'4'1'0,"1"1"0,-1 0 0,0 0 0,0 0 0,0 0 0,-1 1 0,1-1 0,0 1 0,5 6 0,10 6 0,-6-7 0,0 1 0,0 1 0,-1 0 0,-1 0 0,0 2 0,0-1 0,-1 1 0,0 0 0,10 19 0,-9-11 0,-2 0 0,0 0 0,-1 2 0,-1-1 0,9 42 0,-9-35 0,1 0 0,17 39 0,-13-41 0,-2 2 0,10 44 0,38 203 0,-31-157 0,-1-16 0,4 64 0,-19-108 0,3 23 0,4 47 0,-7-64 0,0-2 0,-5-32 0,-2 0 0,2 41 0,-7 223-1365,1-282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6:00:34.590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75 0 24575,'-4'0'0,"-7"0"0,-6 0 0,-5 0 0,2 0-819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6:01:15.924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24575,'19'2'0,"-1"1"0,0 1 0,0 0 0,0 2 0,0 0 0,29 15 0,13 4 0,12 4 0,113 65 0,18 7 0,-51-21 0,-123-65 0,-1 2 0,45 35 0,-25-17 0,39 32 0,-3 4 0,95 104 0,76 114 0,-63-85 0,19 3 0,-90-59 0,-23-23 0,-60-78 0,34 56 0,37 45 0,-95-129 0,0 0 0,18 33 0,-23-35 0,1 0 0,1 0 0,1-1 0,19 20 0,-5-6 0,-2 0 0,-1 1 0,-1 2 0,-2 0 0,22 48 0,22 37 0,56 106 0,-32-27 0,0 13 0,-60-125 0,55 150 0,-61-171-1365,-14-48-546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1FB01F-39E3-4136-8F93-A92B71DD0D19}" type="datetimeFigureOut">
              <a:rPr lang="en-US"/>
              <a:t>11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814DC9-10B7-48D6-9DD6-8C0C17376CE0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535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1pPr>
    <a:lvl2pPr marL="609356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712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8068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7425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6781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6137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5493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4849" algn="l" defTabSz="121871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jpe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19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hirose.icata.net/iportal/CatalogViewInterfaceStartUpAction.do?method=startUp&amp;mode=PAGE&amp;volumeID=HRE00001&amp;catalogId=2355170000&amp;pageGroupId=&amp;designID=HRED002&amp;catalogCategoryId=&amp;designConfirmFlg=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DA28E75-9C02-E5BE-A0D0-AF69426BC5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-1"/>
            <a:ext cx="12191995" cy="6888845"/>
          </a:xfrm>
          <a:prstGeom prst="rect">
            <a:avLst/>
          </a:prstGeom>
        </p:spPr>
      </p:pic>
      <p:pic>
        <p:nvPicPr>
          <p:cNvPr id="7" name="object 32">
            <a:extLst>
              <a:ext uri="{FF2B5EF4-FFF2-40B4-BE49-F238E27FC236}">
                <a16:creationId xmlns:a16="http://schemas.microsoft.com/office/drawing/2014/main" id="{DC8857D3-2D02-1744-6D44-57F0F552C79D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" y="533400"/>
            <a:ext cx="3028314" cy="979996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BDF93D4-51A6-EBD4-48CA-78E37B018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9600" y="3010999"/>
            <a:ext cx="8432800" cy="81756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necting Every Step of Your Journe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95C626-F681-440E-3B23-39ED758AAD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355016" y="5210162"/>
            <a:ext cx="2558562" cy="29708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Presenters Nam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6B534EC-1F13-6486-978C-4C1900BD026C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355016" y="5617539"/>
            <a:ext cx="2558562" cy="29708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Presenters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FBF79A-55C7-B0EC-C06C-BD2872709543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355016" y="6024916"/>
            <a:ext cx="2558562" cy="29708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44545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No Images_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0" y="1956619"/>
            <a:ext cx="10987771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0" y="1489775"/>
            <a:ext cx="10987771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E0CAF8-B2B2-1997-1278-479F12F96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478" y="256736"/>
            <a:ext cx="11043137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155CFFF-A7CF-7143-2F97-65B8EC0E758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7478" y="743986"/>
            <a:ext cx="11040471" cy="466597"/>
          </a:xfrm>
        </p:spPr>
        <p:txBody>
          <a:bodyPr lIns="0" anchor="b">
            <a:noAutofit/>
          </a:bodyPr>
          <a:lstStyle>
            <a:lvl1pPr marL="0" indent="0">
              <a:spcBef>
                <a:spcPts val="0"/>
              </a:spcBef>
              <a:buNone/>
              <a:defRPr sz="3200" b="1">
                <a:solidFill>
                  <a:srgbClr val="00409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1287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 Slide - Content 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in a blue room&#10;&#10;Description automatically generated">
            <a:extLst>
              <a:ext uri="{FF2B5EF4-FFF2-40B4-BE49-F238E27FC236}">
                <a16:creationId xmlns:a16="http://schemas.microsoft.com/office/drawing/2014/main" id="{E2A14FD3-4471-0A8E-1240-63D1D3CD8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79" y="0"/>
            <a:ext cx="6455128" cy="4872507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906DA8F-EADB-37D8-1D4D-32AD186E7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5634" y="274320"/>
            <a:ext cx="5723789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 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9BC1004-E624-8B7E-D87C-2988795F2A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65634" y="2158841"/>
            <a:ext cx="5577840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A662BF4-8A07-E50A-2920-330705509744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65634" y="1691997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object 36">
            <a:extLst>
              <a:ext uri="{FF2B5EF4-FFF2-40B4-BE49-F238E27FC236}">
                <a16:creationId xmlns:a16="http://schemas.microsoft.com/office/drawing/2014/main" id="{7B376A43-A3E8-CEED-1EB3-B95A1842E900}"/>
              </a:ext>
            </a:extLst>
          </p:cNvPr>
          <p:cNvSpPr/>
          <p:nvPr userDrawn="1"/>
        </p:nvSpPr>
        <p:spPr>
          <a:xfrm>
            <a:off x="6383213" y="1415960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A256D4FF-AC7B-07E5-20FB-B15AF04B5380}"/>
              </a:ext>
            </a:extLst>
          </p:cNvPr>
          <p:cNvSpPr/>
          <p:nvPr userDrawn="1"/>
        </p:nvSpPr>
        <p:spPr>
          <a:xfrm>
            <a:off x="7005156" y="1415960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9" name="object 38">
            <a:extLst>
              <a:ext uri="{FF2B5EF4-FFF2-40B4-BE49-F238E27FC236}">
                <a16:creationId xmlns:a16="http://schemas.microsoft.com/office/drawing/2014/main" id="{0000BF8B-0894-6D07-B2A5-1A7CF61CF3C7}"/>
              </a:ext>
            </a:extLst>
          </p:cNvPr>
          <p:cNvSpPr/>
          <p:nvPr userDrawn="1"/>
        </p:nvSpPr>
        <p:spPr>
          <a:xfrm>
            <a:off x="7620262" y="1415960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9B3C502-AC7C-E91C-96E3-22C03566E43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65633" y="824050"/>
            <a:ext cx="5723789" cy="466597"/>
          </a:xfrm>
        </p:spPr>
        <p:txBody>
          <a:bodyPr anchor="b">
            <a:noAutofit/>
          </a:bodyPr>
          <a:lstStyle>
            <a:lvl1pPr marL="0" indent="0">
              <a:buNone/>
              <a:defRPr sz="2800" b="1">
                <a:solidFill>
                  <a:srgbClr val="00409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BDB1FD9-53F9-AA5D-9B58-CAF4131DDBC0}"/>
              </a:ext>
            </a:extLst>
          </p:cNvPr>
          <p:cNvGrpSpPr/>
          <p:nvPr userDrawn="1"/>
        </p:nvGrpSpPr>
        <p:grpSpPr>
          <a:xfrm>
            <a:off x="490547" y="4549315"/>
            <a:ext cx="5109043" cy="1865607"/>
            <a:chOff x="1085866" y="4377342"/>
            <a:chExt cx="4541400" cy="2207149"/>
          </a:xfrm>
        </p:grpSpPr>
        <p:sp>
          <p:nvSpPr>
            <p:cNvPr id="12" name="TextBox 43">
              <a:extLst>
                <a:ext uri="{FF2B5EF4-FFF2-40B4-BE49-F238E27FC236}">
                  <a16:creationId xmlns:a16="http://schemas.microsoft.com/office/drawing/2014/main" id="{5EE9AA5F-142B-C147-E581-2B0947C0DE91}"/>
                </a:ext>
              </a:extLst>
            </p:cNvPr>
            <p:cNvSpPr txBox="1"/>
            <p:nvPr userDrawn="1"/>
          </p:nvSpPr>
          <p:spPr>
            <a:xfrm>
              <a:off x="1184129" y="4803412"/>
              <a:ext cx="4212541" cy="10377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kern="0"/>
              </a:defPPr>
            </a:lstStyle>
            <a:p>
              <a:pPr marL="12544" algn="ctr">
                <a:spcBef>
                  <a:spcPts val="109"/>
                </a:spcBef>
              </a:pPr>
              <a:r>
                <a:rPr lang="en-US" sz="1700">
                  <a:solidFill>
                    <a:schemeClr val="accent1"/>
                  </a:solidFill>
                  <a:latin typeface="Helvetica" pitchFamily="2" charset="0"/>
                  <a:cs typeface="Helvetica"/>
                </a:rPr>
                <a:t>At Hirose, our commitment from our people goes beyond connectors. We're dedicated to elevating your process, from idea to execution.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1789FFB-26D7-B839-2495-1BCBD5C18C6E}"/>
                </a:ext>
              </a:extLst>
            </p:cNvPr>
            <p:cNvGrpSpPr/>
            <p:nvPr userDrawn="1"/>
          </p:nvGrpSpPr>
          <p:grpSpPr>
            <a:xfrm>
              <a:off x="1085866" y="4377342"/>
              <a:ext cx="4541400" cy="2207149"/>
              <a:chOff x="634826" y="4004471"/>
              <a:chExt cx="3967742" cy="2288893"/>
            </a:xfrm>
          </p:grpSpPr>
          <p:sp>
            <p:nvSpPr>
              <p:cNvPr id="14" name="object 11">
                <a:extLst>
                  <a:ext uri="{FF2B5EF4-FFF2-40B4-BE49-F238E27FC236}">
                    <a16:creationId xmlns:a16="http://schemas.microsoft.com/office/drawing/2014/main" id="{D91B1105-E475-522B-88EF-6059274C0900}"/>
                  </a:ext>
                </a:extLst>
              </p:cNvPr>
              <p:cNvSpPr txBox="1"/>
              <p:nvPr userDrawn="1"/>
            </p:nvSpPr>
            <p:spPr>
              <a:xfrm>
                <a:off x="634826" y="4004471"/>
                <a:ext cx="384796" cy="1028414"/>
              </a:xfrm>
              <a:prstGeom prst="rect">
                <a:avLst/>
              </a:prstGeom>
            </p:spPr>
            <p:txBody>
              <a:bodyPr vert="horz" wrap="square" lIns="0" tIns="16180" rIns="0" bIns="0" rtlCol="0">
                <a:spAutoFit/>
              </a:bodyPr>
              <a:lstStyle>
                <a:defPPr>
                  <a:defRPr kern="0"/>
                </a:defPPr>
              </a:lstStyle>
              <a:p>
                <a:pPr marL="12446">
                  <a:spcBef>
                    <a:spcPts val="127"/>
                  </a:spcBef>
                </a:pPr>
                <a:r>
                  <a:rPr sz="5341" b="1" spc="-49">
                    <a:solidFill>
                      <a:srgbClr val="78BD43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“</a:t>
                </a:r>
                <a:endParaRPr sz="5341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" name="object 12">
                <a:extLst>
                  <a:ext uri="{FF2B5EF4-FFF2-40B4-BE49-F238E27FC236}">
                    <a16:creationId xmlns:a16="http://schemas.microsoft.com/office/drawing/2014/main" id="{290F1179-D70C-D0F6-EBFD-E861E55CE551}"/>
                  </a:ext>
                </a:extLst>
              </p:cNvPr>
              <p:cNvSpPr txBox="1"/>
              <p:nvPr userDrawn="1"/>
            </p:nvSpPr>
            <p:spPr>
              <a:xfrm>
                <a:off x="4274604" y="5264950"/>
                <a:ext cx="327964" cy="1028414"/>
              </a:xfrm>
              <a:prstGeom prst="rect">
                <a:avLst/>
              </a:prstGeom>
            </p:spPr>
            <p:txBody>
              <a:bodyPr vert="horz" wrap="square" lIns="0" tIns="16180" rIns="0" bIns="0" rtlCol="0">
                <a:spAutoFit/>
              </a:bodyPr>
              <a:lstStyle>
                <a:defPPr>
                  <a:defRPr kern="0"/>
                </a:defPPr>
              </a:lstStyle>
              <a:p>
                <a:pPr marL="12446">
                  <a:spcBef>
                    <a:spcPts val="127"/>
                  </a:spcBef>
                </a:pPr>
                <a:r>
                  <a:rPr sz="5341" b="1" spc="-49">
                    <a:solidFill>
                      <a:srgbClr val="78BD43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”</a:t>
                </a:r>
                <a:endParaRPr sz="5341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grpSp>
            <p:nvGrpSpPr>
              <p:cNvPr id="16" name="object 13">
                <a:extLst>
                  <a:ext uri="{FF2B5EF4-FFF2-40B4-BE49-F238E27FC236}">
                    <a16:creationId xmlns:a16="http://schemas.microsoft.com/office/drawing/2014/main" id="{D772675A-3A73-0CDE-8DD5-E1DA8E84158B}"/>
                  </a:ext>
                </a:extLst>
              </p:cNvPr>
              <p:cNvGrpSpPr/>
              <p:nvPr userDrawn="1"/>
            </p:nvGrpSpPr>
            <p:grpSpPr>
              <a:xfrm>
                <a:off x="647108" y="4358966"/>
                <a:ext cx="3882008" cy="1287573"/>
                <a:chOff x="568914" y="4469458"/>
                <a:chExt cx="3961085" cy="1313801"/>
              </a:xfrm>
            </p:grpSpPr>
            <p:sp>
              <p:nvSpPr>
                <p:cNvPr id="17" name="object 14">
                  <a:extLst>
                    <a:ext uri="{FF2B5EF4-FFF2-40B4-BE49-F238E27FC236}">
                      <a16:creationId xmlns:a16="http://schemas.microsoft.com/office/drawing/2014/main" id="{63CA85BA-B05E-E7F4-E707-A5A9AA203CF0}"/>
                    </a:ext>
                  </a:extLst>
                </p:cNvPr>
                <p:cNvSpPr/>
                <p:nvPr userDrawn="1"/>
              </p:nvSpPr>
              <p:spPr>
                <a:xfrm>
                  <a:off x="568914" y="4701219"/>
                  <a:ext cx="3602990" cy="1082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990" h="1082039">
                      <a:moveTo>
                        <a:pt x="0" y="0"/>
                      </a:moveTo>
                      <a:lnTo>
                        <a:pt x="0" y="1082040"/>
                      </a:lnTo>
                      <a:lnTo>
                        <a:pt x="3602913" y="1082040"/>
                      </a:lnTo>
                    </a:path>
                  </a:pathLst>
                </a:custGeom>
                <a:ln w="18313">
                  <a:solidFill>
                    <a:srgbClr val="78BD43"/>
                  </a:solidFill>
                </a:ln>
              </p:spPr>
              <p:txBody>
                <a:bodyPr wrap="square" lIns="0" tIns="0" rIns="0" bIns="0" rtlCol="0"/>
                <a:lstStyle>
                  <a:defPPr>
                    <a:defRPr kern="0"/>
                  </a:defPPr>
                </a:lstStyle>
                <a:p>
                  <a:endParaRPr/>
                </a:p>
              </p:txBody>
            </p:sp>
            <p:sp>
              <p:nvSpPr>
                <p:cNvPr id="18" name="object 15">
                  <a:extLst>
                    <a:ext uri="{FF2B5EF4-FFF2-40B4-BE49-F238E27FC236}">
                      <a16:creationId xmlns:a16="http://schemas.microsoft.com/office/drawing/2014/main" id="{96519A52-9BBF-8A17-B100-2CD9E36E5603}"/>
                    </a:ext>
                  </a:extLst>
                </p:cNvPr>
                <p:cNvSpPr/>
                <p:nvPr userDrawn="1"/>
              </p:nvSpPr>
              <p:spPr>
                <a:xfrm>
                  <a:off x="888632" y="4469458"/>
                  <a:ext cx="3641367" cy="10140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4090" h="1014095">
                      <a:moveTo>
                        <a:pt x="3513772" y="1013879"/>
                      </a:moveTo>
                      <a:lnTo>
                        <a:pt x="3513772" y="0"/>
                      </a:lnTo>
                      <a:lnTo>
                        <a:pt x="0" y="0"/>
                      </a:lnTo>
                    </a:path>
                  </a:pathLst>
                </a:custGeom>
                <a:ln w="18313">
                  <a:solidFill>
                    <a:srgbClr val="78BD43"/>
                  </a:solidFill>
                </a:ln>
              </p:spPr>
              <p:txBody>
                <a:bodyPr wrap="square" lIns="0" tIns="0" rIns="0" bIns="0" rtlCol="0"/>
                <a:lstStyle>
                  <a:defPPr>
                    <a:defRPr kern="0"/>
                  </a:defPPr>
                </a:lstStyle>
                <a:p>
                  <a:endParaRPr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93968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Image 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9699" y="1551924"/>
            <a:ext cx="4918564" cy="4337597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51931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581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amp; Content 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51931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D0678D1-6A94-6AFA-91AF-D58B81A1E44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696489" y="1555108"/>
            <a:ext cx="4891773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7422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&amp; Content_1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7757" y="1552172"/>
            <a:ext cx="5577840" cy="4337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07757" y="1085328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3881" y="1085329"/>
            <a:ext cx="5141913" cy="4804194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7634A-469A-FB4B-B11B-C98AA7121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49265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540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No Images_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0" y="1560966"/>
            <a:ext cx="11058109" cy="43386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0" y="1094122"/>
            <a:ext cx="11058109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7D1DB0-4700-81DF-5287-B059FCF05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1" y="274320"/>
            <a:ext cx="11043137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2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47">
            <a:extLst>
              <a:ext uri="{FF2B5EF4-FFF2-40B4-BE49-F238E27FC236}">
                <a16:creationId xmlns:a16="http://schemas.microsoft.com/office/drawing/2014/main" id="{19244422-1558-D8DE-AD5B-6D63C0D80D46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864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0ECD4A9-1E3E-978D-4048-801F534C62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85811" y="0"/>
            <a:ext cx="64293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92989C-F084-F0E1-1A5C-EF2A1CDAD03C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9" name="object 10">
              <a:extLst>
                <a:ext uri="{FF2B5EF4-FFF2-40B4-BE49-F238E27FC236}">
                  <a16:creationId xmlns:a16="http://schemas.microsoft.com/office/drawing/2014/main" id="{CCCB0C4E-2CE3-8A74-607C-3E1B1B370FCB}"/>
                </a:ext>
              </a:extLst>
            </p:cNvPr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10" name="object 11">
              <a:extLst>
                <a:ext uri="{FF2B5EF4-FFF2-40B4-BE49-F238E27FC236}">
                  <a16:creationId xmlns:a16="http://schemas.microsoft.com/office/drawing/2014/main" id="{A452EA86-EF25-F46C-1ACD-B6212C893A37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2">
              <a:extLst>
                <a:ext uri="{FF2B5EF4-FFF2-40B4-BE49-F238E27FC236}">
                  <a16:creationId xmlns:a16="http://schemas.microsoft.com/office/drawing/2014/main" id="{A3D3E421-C6D4-5064-CFFC-6974D0572E75}"/>
                </a:ext>
              </a:extLst>
            </p:cNvPr>
            <p:cNvPicPr/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12" name="object 13">
              <a:extLst>
                <a:ext uri="{FF2B5EF4-FFF2-40B4-BE49-F238E27FC236}">
                  <a16:creationId xmlns:a16="http://schemas.microsoft.com/office/drawing/2014/main" id="{24D8C681-8715-694C-47EB-AE7A61D2EDB7}"/>
                </a:ext>
              </a:extLst>
            </p:cNvPr>
            <p:cNvPicPr/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13" name="object 14">
              <a:extLst>
                <a:ext uri="{FF2B5EF4-FFF2-40B4-BE49-F238E27FC236}">
                  <a16:creationId xmlns:a16="http://schemas.microsoft.com/office/drawing/2014/main" id="{583A2804-7EBA-8AD4-D3FA-176A3DADF35E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14" name="object 23">
              <a:extLst>
                <a:ext uri="{FF2B5EF4-FFF2-40B4-BE49-F238E27FC236}">
                  <a16:creationId xmlns:a16="http://schemas.microsoft.com/office/drawing/2014/main" id="{1FE10C8A-B389-89EB-5224-F22455C9BE00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15" name="object 24">
              <a:extLst>
                <a:ext uri="{FF2B5EF4-FFF2-40B4-BE49-F238E27FC236}">
                  <a16:creationId xmlns:a16="http://schemas.microsoft.com/office/drawing/2014/main" id="{D7840D7A-8228-8812-92D7-2D5EBC76DF68}"/>
                </a:ext>
              </a:extLst>
            </p:cNvPr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16" name="object 25">
              <a:extLst>
                <a:ext uri="{FF2B5EF4-FFF2-40B4-BE49-F238E27FC236}">
                  <a16:creationId xmlns:a16="http://schemas.microsoft.com/office/drawing/2014/main" id="{76AE3A7D-6881-D7BA-F098-C1ACFB203F14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17" name="object 26">
              <a:extLst>
                <a:ext uri="{FF2B5EF4-FFF2-40B4-BE49-F238E27FC236}">
                  <a16:creationId xmlns:a16="http://schemas.microsoft.com/office/drawing/2014/main" id="{7ECE7F8A-24F8-ED10-6D2D-2BE881AF3EE9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18" name="object 27">
              <a:extLst>
                <a:ext uri="{FF2B5EF4-FFF2-40B4-BE49-F238E27FC236}">
                  <a16:creationId xmlns:a16="http://schemas.microsoft.com/office/drawing/2014/main" id="{8BDE9205-D3F7-3EFA-27AB-C29622BC1B98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19" name="object 28">
              <a:extLst>
                <a:ext uri="{FF2B5EF4-FFF2-40B4-BE49-F238E27FC236}">
                  <a16:creationId xmlns:a16="http://schemas.microsoft.com/office/drawing/2014/main" id="{CEFD6850-79CD-9A2D-619E-BAF4E196FAB8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20" name="object 29">
              <a:extLst>
                <a:ext uri="{FF2B5EF4-FFF2-40B4-BE49-F238E27FC236}">
                  <a16:creationId xmlns:a16="http://schemas.microsoft.com/office/drawing/2014/main" id="{837FB886-8E0F-360F-DCAF-40CA158C5890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21" name="object 30">
              <a:extLst>
                <a:ext uri="{FF2B5EF4-FFF2-40B4-BE49-F238E27FC236}">
                  <a16:creationId xmlns:a16="http://schemas.microsoft.com/office/drawing/2014/main" id="{4487C15D-D263-86D2-F5C9-552ACC48D8EB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31">
              <a:extLst>
                <a:ext uri="{FF2B5EF4-FFF2-40B4-BE49-F238E27FC236}">
                  <a16:creationId xmlns:a16="http://schemas.microsoft.com/office/drawing/2014/main" id="{8E5E6BC7-6F2B-B6E4-6450-64093D9C64F0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2">
              <a:extLst>
                <a:ext uri="{FF2B5EF4-FFF2-40B4-BE49-F238E27FC236}">
                  <a16:creationId xmlns:a16="http://schemas.microsoft.com/office/drawing/2014/main" id="{EC34F249-0E8A-C9A8-9801-3665D5BE3546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24" name="object 33">
              <a:extLst>
                <a:ext uri="{FF2B5EF4-FFF2-40B4-BE49-F238E27FC236}">
                  <a16:creationId xmlns:a16="http://schemas.microsoft.com/office/drawing/2014/main" id="{EEF60736-E46A-47D1-40D2-D65E83B47782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25" name="object 34">
              <a:extLst>
                <a:ext uri="{FF2B5EF4-FFF2-40B4-BE49-F238E27FC236}">
                  <a16:creationId xmlns:a16="http://schemas.microsoft.com/office/drawing/2014/main" id="{55E8787B-5BF9-F84E-23BB-DBD45524BF5E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35">
              <a:extLst>
                <a:ext uri="{FF2B5EF4-FFF2-40B4-BE49-F238E27FC236}">
                  <a16:creationId xmlns:a16="http://schemas.microsoft.com/office/drawing/2014/main" id="{284C8C0A-7351-536C-D2B1-0534D2D7D016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36">
              <a:extLst>
                <a:ext uri="{FF2B5EF4-FFF2-40B4-BE49-F238E27FC236}">
                  <a16:creationId xmlns:a16="http://schemas.microsoft.com/office/drawing/2014/main" id="{F836F200-094E-2C8C-4825-0A7F97E96B9A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28" name="object 37">
              <a:extLst>
                <a:ext uri="{FF2B5EF4-FFF2-40B4-BE49-F238E27FC236}">
                  <a16:creationId xmlns:a16="http://schemas.microsoft.com/office/drawing/2014/main" id="{6ADDD59F-EB46-D51E-6F97-84798E347C6A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29" name="object 38">
              <a:extLst>
                <a:ext uri="{FF2B5EF4-FFF2-40B4-BE49-F238E27FC236}">
                  <a16:creationId xmlns:a16="http://schemas.microsoft.com/office/drawing/2014/main" id="{A30CF997-967F-DC53-10F0-978003A315CE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33" name="object 39">
                <a:extLst>
                  <a:ext uri="{FF2B5EF4-FFF2-40B4-BE49-F238E27FC236}">
                    <a16:creationId xmlns:a16="http://schemas.microsoft.com/office/drawing/2014/main" id="{3EFD956B-6DCC-644B-E0CF-2CDE8FC57AD8}"/>
                  </a:ext>
                </a:extLst>
              </p:cNvPr>
              <p:cNvPicPr/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4" name="object 40">
                <a:extLst>
                  <a:ext uri="{FF2B5EF4-FFF2-40B4-BE49-F238E27FC236}">
                    <a16:creationId xmlns:a16="http://schemas.microsoft.com/office/drawing/2014/main" id="{56B173E4-0059-77D8-7AF5-6C5232EB61E0}"/>
                  </a:ext>
                </a:extLst>
              </p:cNvPr>
              <p:cNvPicPr/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5" name="object 41">
                <a:extLst>
                  <a:ext uri="{FF2B5EF4-FFF2-40B4-BE49-F238E27FC236}">
                    <a16:creationId xmlns:a16="http://schemas.microsoft.com/office/drawing/2014/main" id="{547E8CC1-1617-494F-17A0-D793B2E0634E}"/>
                  </a:ext>
                </a:extLst>
              </p:cNvPr>
              <p:cNvPicPr/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6" name="object 42">
                <a:extLst>
                  <a:ext uri="{FF2B5EF4-FFF2-40B4-BE49-F238E27FC236}">
                    <a16:creationId xmlns:a16="http://schemas.microsoft.com/office/drawing/2014/main" id="{2C19793E-0609-82C9-3CC1-C801B46B76CC}"/>
                  </a:ext>
                </a:extLst>
              </p:cNvPr>
              <p:cNvPicPr/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30" name="object 43">
              <a:extLst>
                <a:ext uri="{FF2B5EF4-FFF2-40B4-BE49-F238E27FC236}">
                  <a16:creationId xmlns:a16="http://schemas.microsoft.com/office/drawing/2014/main" id="{B17EF93D-54B7-99A6-3308-B24FB9303AC7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31" name="object 44">
                <a:extLst>
                  <a:ext uri="{FF2B5EF4-FFF2-40B4-BE49-F238E27FC236}">
                    <a16:creationId xmlns:a16="http://schemas.microsoft.com/office/drawing/2014/main" id="{C39F5BAB-51B7-052B-4782-D79E327C3D74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2" name="object 45">
                <a:extLst>
                  <a:ext uri="{FF2B5EF4-FFF2-40B4-BE49-F238E27FC236}">
                    <a16:creationId xmlns:a16="http://schemas.microsoft.com/office/drawing/2014/main" id="{62DFFFFD-96D6-1694-8A35-CE28C64EC224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37" name="object 47">
            <a:extLst>
              <a:ext uri="{FF2B5EF4-FFF2-40B4-BE49-F238E27FC236}">
                <a16:creationId xmlns:a16="http://schemas.microsoft.com/office/drawing/2014/main" id="{19244422-1558-D8DE-AD5B-6D63C0D80D46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D15D18B1-53A6-6C8B-46E8-8D4DEB3A5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215" y="274320"/>
            <a:ext cx="7606112" cy="610638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 lang="en-US" sz="3200" b="0" kern="1200" dirty="0">
                <a:solidFill>
                  <a:srgbClr val="77BC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EAE61DD-DDFA-195F-A990-C71C747B0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215" y="1440143"/>
            <a:ext cx="5053963" cy="21164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solidFill>
                  <a:srgbClr val="747474"/>
                </a:solidFill>
              </a:defRPr>
            </a:lvl1pPr>
            <a:lvl2pPr>
              <a:defRPr sz="2000">
                <a:solidFill>
                  <a:srgbClr val="747474"/>
                </a:solidFill>
              </a:defRPr>
            </a:lvl2pPr>
            <a:lvl3pPr>
              <a:defRPr sz="1800">
                <a:solidFill>
                  <a:srgbClr val="747474"/>
                </a:solidFill>
              </a:defRPr>
            </a:lvl3pPr>
            <a:lvl4pPr>
              <a:defRPr sz="1600">
                <a:solidFill>
                  <a:srgbClr val="747474"/>
                </a:solidFill>
              </a:defRPr>
            </a:lvl4pPr>
            <a:lvl5pPr>
              <a:defRPr sz="1600">
                <a:solidFill>
                  <a:srgbClr val="74747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0" name="object 36">
            <a:extLst>
              <a:ext uri="{FF2B5EF4-FFF2-40B4-BE49-F238E27FC236}">
                <a16:creationId xmlns:a16="http://schemas.microsoft.com/office/drawing/2014/main" id="{35EBA6D9-6556-B569-2554-17EB777B7E79}"/>
              </a:ext>
            </a:extLst>
          </p:cNvPr>
          <p:cNvSpPr/>
          <p:nvPr userDrawn="1"/>
        </p:nvSpPr>
        <p:spPr>
          <a:xfrm>
            <a:off x="536332" y="1146481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1" name="object 37">
            <a:extLst>
              <a:ext uri="{FF2B5EF4-FFF2-40B4-BE49-F238E27FC236}">
                <a16:creationId xmlns:a16="http://schemas.microsoft.com/office/drawing/2014/main" id="{6E50C63C-19D3-8157-5ECE-EBEDAAAA66AA}"/>
              </a:ext>
            </a:extLst>
          </p:cNvPr>
          <p:cNvSpPr/>
          <p:nvPr userDrawn="1"/>
        </p:nvSpPr>
        <p:spPr>
          <a:xfrm>
            <a:off x="1158275" y="1146481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2" name="object 38">
            <a:extLst>
              <a:ext uri="{FF2B5EF4-FFF2-40B4-BE49-F238E27FC236}">
                <a16:creationId xmlns:a16="http://schemas.microsoft.com/office/drawing/2014/main" id="{A317590B-07C7-DD6C-2A00-197C85A65613}"/>
              </a:ext>
            </a:extLst>
          </p:cNvPr>
          <p:cNvSpPr/>
          <p:nvPr userDrawn="1"/>
        </p:nvSpPr>
        <p:spPr>
          <a:xfrm>
            <a:off x="1773381" y="1146481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818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oter and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8">
            <a:extLst>
              <a:ext uri="{FF2B5EF4-FFF2-40B4-BE49-F238E27FC236}">
                <a16:creationId xmlns:a16="http://schemas.microsoft.com/office/drawing/2014/main" id="{49F01303-B0A1-9BFD-1F8B-B4BB968A6140}"/>
              </a:ext>
            </a:extLst>
          </p:cNvPr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946" y="6394039"/>
            <a:ext cx="5401720" cy="13170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4ADFA95-7122-2EF0-9BE4-2F17A7A884CE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4" name="object 10">
              <a:extLst>
                <a:ext uri="{FF2B5EF4-FFF2-40B4-BE49-F238E27FC236}">
                  <a16:creationId xmlns:a16="http://schemas.microsoft.com/office/drawing/2014/main" id="{14789D07-BA74-AAB2-24DA-843C6FFA4820}"/>
                </a:ext>
              </a:extLst>
            </p:cNvPr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5" name="object 11">
              <a:extLst>
                <a:ext uri="{FF2B5EF4-FFF2-40B4-BE49-F238E27FC236}">
                  <a16:creationId xmlns:a16="http://schemas.microsoft.com/office/drawing/2014/main" id="{0BA1C9A1-E178-0692-D103-490EC97A0DC4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12">
              <a:extLst>
                <a:ext uri="{FF2B5EF4-FFF2-40B4-BE49-F238E27FC236}">
                  <a16:creationId xmlns:a16="http://schemas.microsoft.com/office/drawing/2014/main" id="{A6E069A9-DB5C-B3C8-D0A2-96BF92F9688E}"/>
                </a:ext>
              </a:extLst>
            </p:cNvPr>
            <p:cNvPicPr/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7" name="object 13">
              <a:extLst>
                <a:ext uri="{FF2B5EF4-FFF2-40B4-BE49-F238E27FC236}">
                  <a16:creationId xmlns:a16="http://schemas.microsoft.com/office/drawing/2014/main" id="{0984EE09-0D6C-2F36-1084-DA2BD9F6584C}"/>
                </a:ext>
              </a:extLst>
            </p:cNvPr>
            <p:cNvPicPr/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8" name="object 14">
              <a:extLst>
                <a:ext uri="{FF2B5EF4-FFF2-40B4-BE49-F238E27FC236}">
                  <a16:creationId xmlns:a16="http://schemas.microsoft.com/office/drawing/2014/main" id="{D45F1F72-0353-9DC7-4E5A-F88F5903D4F4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9" name="object 23">
              <a:extLst>
                <a:ext uri="{FF2B5EF4-FFF2-40B4-BE49-F238E27FC236}">
                  <a16:creationId xmlns:a16="http://schemas.microsoft.com/office/drawing/2014/main" id="{C4BD7E6B-3BE6-F7A8-487A-2E851204196B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10" name="object 24">
              <a:extLst>
                <a:ext uri="{FF2B5EF4-FFF2-40B4-BE49-F238E27FC236}">
                  <a16:creationId xmlns:a16="http://schemas.microsoft.com/office/drawing/2014/main" id="{F5FEAE6C-72C9-C3A1-6AD9-BB877CA17A88}"/>
                </a:ext>
              </a:extLst>
            </p:cNvPr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11" name="object 25">
              <a:extLst>
                <a:ext uri="{FF2B5EF4-FFF2-40B4-BE49-F238E27FC236}">
                  <a16:creationId xmlns:a16="http://schemas.microsoft.com/office/drawing/2014/main" id="{1FF0CE1D-3C99-058A-5638-855E786E2137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12" name="object 26">
              <a:extLst>
                <a:ext uri="{FF2B5EF4-FFF2-40B4-BE49-F238E27FC236}">
                  <a16:creationId xmlns:a16="http://schemas.microsoft.com/office/drawing/2014/main" id="{5535F14B-441D-04F1-4A73-12D27A786069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13" name="object 27">
              <a:extLst>
                <a:ext uri="{FF2B5EF4-FFF2-40B4-BE49-F238E27FC236}">
                  <a16:creationId xmlns:a16="http://schemas.microsoft.com/office/drawing/2014/main" id="{B6116556-0306-9044-A3BC-E2BB30105C86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14" name="object 28">
              <a:extLst>
                <a:ext uri="{FF2B5EF4-FFF2-40B4-BE49-F238E27FC236}">
                  <a16:creationId xmlns:a16="http://schemas.microsoft.com/office/drawing/2014/main" id="{1521B3B6-1129-5D87-F8A5-8BDEC7A45305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15" name="object 29">
              <a:extLst>
                <a:ext uri="{FF2B5EF4-FFF2-40B4-BE49-F238E27FC236}">
                  <a16:creationId xmlns:a16="http://schemas.microsoft.com/office/drawing/2014/main" id="{1A9BB888-406A-D7D1-D875-F6699A0119F6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16" name="object 30">
              <a:extLst>
                <a:ext uri="{FF2B5EF4-FFF2-40B4-BE49-F238E27FC236}">
                  <a16:creationId xmlns:a16="http://schemas.microsoft.com/office/drawing/2014/main" id="{CE8E63CF-9F98-178E-EEE5-41D42775796C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1">
              <a:extLst>
                <a:ext uri="{FF2B5EF4-FFF2-40B4-BE49-F238E27FC236}">
                  <a16:creationId xmlns:a16="http://schemas.microsoft.com/office/drawing/2014/main" id="{98569DE6-B547-441D-32AA-80B07A9AF8CA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32">
              <a:extLst>
                <a:ext uri="{FF2B5EF4-FFF2-40B4-BE49-F238E27FC236}">
                  <a16:creationId xmlns:a16="http://schemas.microsoft.com/office/drawing/2014/main" id="{02B0E42A-B5E9-79FE-4F3F-D6AB98390C37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19" name="object 33">
              <a:extLst>
                <a:ext uri="{FF2B5EF4-FFF2-40B4-BE49-F238E27FC236}">
                  <a16:creationId xmlns:a16="http://schemas.microsoft.com/office/drawing/2014/main" id="{AC7DA20F-59B9-275B-0714-4A3C2C83AB3F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20" name="object 34">
              <a:extLst>
                <a:ext uri="{FF2B5EF4-FFF2-40B4-BE49-F238E27FC236}">
                  <a16:creationId xmlns:a16="http://schemas.microsoft.com/office/drawing/2014/main" id="{2368E5B2-7DFF-B83A-1271-59AB1C4D0031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35">
              <a:extLst>
                <a:ext uri="{FF2B5EF4-FFF2-40B4-BE49-F238E27FC236}">
                  <a16:creationId xmlns:a16="http://schemas.microsoft.com/office/drawing/2014/main" id="{8E843DC9-11BD-F05A-3248-933D3D88D037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36">
              <a:extLst>
                <a:ext uri="{FF2B5EF4-FFF2-40B4-BE49-F238E27FC236}">
                  <a16:creationId xmlns:a16="http://schemas.microsoft.com/office/drawing/2014/main" id="{EFB9FEF7-D980-4607-8D0A-2083723185F1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23" name="object 37">
              <a:extLst>
                <a:ext uri="{FF2B5EF4-FFF2-40B4-BE49-F238E27FC236}">
                  <a16:creationId xmlns:a16="http://schemas.microsoft.com/office/drawing/2014/main" id="{70CB13DC-5660-1125-E347-57D67E57D47A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24" name="object 38">
              <a:extLst>
                <a:ext uri="{FF2B5EF4-FFF2-40B4-BE49-F238E27FC236}">
                  <a16:creationId xmlns:a16="http://schemas.microsoft.com/office/drawing/2014/main" id="{871BFE4C-3201-8AF6-3F4F-04B7685723E8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28" name="object 39">
                <a:extLst>
                  <a:ext uri="{FF2B5EF4-FFF2-40B4-BE49-F238E27FC236}">
                    <a16:creationId xmlns:a16="http://schemas.microsoft.com/office/drawing/2014/main" id="{2E020C69-9FCF-8517-217E-4EDC9E0240C6}"/>
                  </a:ext>
                </a:extLst>
              </p:cNvPr>
              <p:cNvPicPr/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29" name="object 40">
                <a:extLst>
                  <a:ext uri="{FF2B5EF4-FFF2-40B4-BE49-F238E27FC236}">
                    <a16:creationId xmlns:a16="http://schemas.microsoft.com/office/drawing/2014/main" id="{BECF4F8D-6516-B511-E0F5-A7922D0522E3}"/>
                  </a:ext>
                </a:extLst>
              </p:cNvPr>
              <p:cNvPicPr/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0" name="object 41">
                <a:extLst>
                  <a:ext uri="{FF2B5EF4-FFF2-40B4-BE49-F238E27FC236}">
                    <a16:creationId xmlns:a16="http://schemas.microsoft.com/office/drawing/2014/main" id="{23C73588-C118-13B1-4BA4-105B0F4A7332}"/>
                  </a:ext>
                </a:extLst>
              </p:cNvPr>
              <p:cNvPicPr/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31" name="object 42">
                <a:extLst>
                  <a:ext uri="{FF2B5EF4-FFF2-40B4-BE49-F238E27FC236}">
                    <a16:creationId xmlns:a16="http://schemas.microsoft.com/office/drawing/2014/main" id="{15AC00AB-0D76-04ED-FD4C-B81B32B6FF90}"/>
                  </a:ext>
                </a:extLst>
              </p:cNvPr>
              <p:cNvPicPr/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25" name="object 43">
              <a:extLst>
                <a:ext uri="{FF2B5EF4-FFF2-40B4-BE49-F238E27FC236}">
                  <a16:creationId xmlns:a16="http://schemas.microsoft.com/office/drawing/2014/main" id="{9187AF27-82B7-F8F5-80F2-5EA398964FA1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26" name="object 44">
                <a:extLst>
                  <a:ext uri="{FF2B5EF4-FFF2-40B4-BE49-F238E27FC236}">
                    <a16:creationId xmlns:a16="http://schemas.microsoft.com/office/drawing/2014/main" id="{103D91E2-5FA4-F541-B5E4-8BCE0E9A66C5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45">
                <a:extLst>
                  <a:ext uri="{FF2B5EF4-FFF2-40B4-BE49-F238E27FC236}">
                    <a16:creationId xmlns:a16="http://schemas.microsoft.com/office/drawing/2014/main" id="{D5A66D73-2A4C-3DF6-3347-EF44E92B1C24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32" name="object 9">
            <a:extLst>
              <a:ext uri="{FF2B5EF4-FFF2-40B4-BE49-F238E27FC236}">
                <a16:creationId xmlns:a16="http://schemas.microsoft.com/office/drawing/2014/main" id="{0B1CB9C9-7A17-2DE0-85FF-7E2D80ADE94E}"/>
              </a:ext>
            </a:extLst>
          </p:cNvPr>
          <p:cNvSpPr/>
          <p:nvPr userDrawn="1"/>
        </p:nvSpPr>
        <p:spPr>
          <a:xfrm>
            <a:off x="11415041" y="6263553"/>
            <a:ext cx="379432" cy="371906"/>
          </a:xfrm>
          <a:custGeom>
            <a:avLst/>
            <a:gdLst/>
            <a:ahLst/>
            <a:cxnLst/>
            <a:rect l="l" t="t" r="r" b="b"/>
            <a:pathLst>
              <a:path w="384175" h="376554">
                <a:moveTo>
                  <a:pt x="383819" y="0"/>
                </a:moveTo>
                <a:lnTo>
                  <a:pt x="0" y="0"/>
                </a:lnTo>
                <a:lnTo>
                  <a:pt x="0" y="376300"/>
                </a:lnTo>
                <a:lnTo>
                  <a:pt x="383819" y="376300"/>
                </a:lnTo>
                <a:lnTo>
                  <a:pt x="3838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47">
            <a:extLst>
              <a:ext uri="{FF2B5EF4-FFF2-40B4-BE49-F238E27FC236}">
                <a16:creationId xmlns:a16="http://schemas.microsoft.com/office/drawing/2014/main" id="{B78E4646-3B2D-6F38-2949-0DB1DF73D65B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9C02D962-C2BC-0874-E87C-C6067CD86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215" y="274320"/>
            <a:ext cx="7606112" cy="610638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 lang="en-US" sz="3200" b="0" kern="1200" dirty="0">
                <a:solidFill>
                  <a:srgbClr val="77BC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9" name="object 36">
            <a:extLst>
              <a:ext uri="{FF2B5EF4-FFF2-40B4-BE49-F238E27FC236}">
                <a16:creationId xmlns:a16="http://schemas.microsoft.com/office/drawing/2014/main" id="{5E3CF9BD-BDA7-8821-28B8-CF3A97DBCA57}"/>
              </a:ext>
            </a:extLst>
          </p:cNvPr>
          <p:cNvSpPr/>
          <p:nvPr userDrawn="1"/>
        </p:nvSpPr>
        <p:spPr>
          <a:xfrm>
            <a:off x="536332" y="917880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0" name="object 37">
            <a:extLst>
              <a:ext uri="{FF2B5EF4-FFF2-40B4-BE49-F238E27FC236}">
                <a16:creationId xmlns:a16="http://schemas.microsoft.com/office/drawing/2014/main" id="{BAC3356F-C017-F0E8-CF27-FC2C7528B895}"/>
              </a:ext>
            </a:extLst>
          </p:cNvPr>
          <p:cNvSpPr/>
          <p:nvPr userDrawn="1"/>
        </p:nvSpPr>
        <p:spPr>
          <a:xfrm>
            <a:off x="1158275" y="917880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41" name="object 38">
            <a:extLst>
              <a:ext uri="{FF2B5EF4-FFF2-40B4-BE49-F238E27FC236}">
                <a16:creationId xmlns:a16="http://schemas.microsoft.com/office/drawing/2014/main" id="{3B9123F1-C806-6629-6F23-756F90740C0B}"/>
              </a:ext>
            </a:extLst>
          </p:cNvPr>
          <p:cNvSpPr/>
          <p:nvPr userDrawn="1"/>
        </p:nvSpPr>
        <p:spPr>
          <a:xfrm>
            <a:off x="1773381" y="917880"/>
            <a:ext cx="459673" cy="150832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24542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Hirose Graphic">
            <a:extLst>
              <a:ext uri="{FF2B5EF4-FFF2-40B4-BE49-F238E27FC236}">
                <a16:creationId xmlns:a16="http://schemas.microsoft.com/office/drawing/2014/main" id="{1C4443E2-C697-01BB-BD0D-D4A0860BF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3141" y="2655994"/>
            <a:ext cx="8039121" cy="987552"/>
          </a:xfrm>
          <a:prstGeom prst="rect">
            <a:avLst/>
          </a:prstGeom>
          <a:effectLst>
            <a:outerShdw blurRad="596900" dist="279400" dir="5400000" sx="91000" sy="91000" algn="t" rotWithShape="0">
              <a:prstClr val="black">
                <a:alpha val="30000"/>
              </a:prstClr>
            </a:outerShdw>
          </a:effectLst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67615D2-BF30-C75D-2CEF-45981E7F8D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73140" y="4163290"/>
            <a:ext cx="8020879" cy="671945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B76D114-7478-1959-3586-6F4D3A285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3140" y="2655995"/>
            <a:ext cx="8020879" cy="983828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9C89A070-C672-A13C-C58C-E195981F00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0849" y="1494434"/>
            <a:ext cx="4521937" cy="15716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9400B23-43BC-8AAB-4713-84F9CD7619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204" y="518173"/>
            <a:ext cx="2661478" cy="86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927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ank you -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4">
            <a:hlinkClick r:id="rId2"/>
            <a:extLst>
              <a:ext uri="{FF2B5EF4-FFF2-40B4-BE49-F238E27FC236}">
                <a16:creationId xmlns:a16="http://schemas.microsoft.com/office/drawing/2014/main" id="{9698655C-DCEA-8463-507B-9E259A68D3D4}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54472" y="4257966"/>
            <a:ext cx="3174998" cy="1816992"/>
          </a:xfrm>
          <a:prstGeom prst="rect">
            <a:avLst/>
          </a:prstGeom>
        </p:spPr>
      </p:pic>
      <p:sp>
        <p:nvSpPr>
          <p:cNvPr id="3" name="object 4">
            <a:extLst>
              <a:ext uri="{FF2B5EF4-FFF2-40B4-BE49-F238E27FC236}">
                <a16:creationId xmlns:a16="http://schemas.microsoft.com/office/drawing/2014/main" id="{11DC5EB0-C8A0-C169-9E79-3387501DFB51}"/>
              </a:ext>
            </a:extLst>
          </p:cNvPr>
          <p:cNvSpPr txBox="1"/>
          <p:nvPr userDrawn="1"/>
        </p:nvSpPr>
        <p:spPr>
          <a:xfrm>
            <a:off x="9287252" y="6109647"/>
            <a:ext cx="1999388" cy="443553"/>
          </a:xfrm>
          <a:prstGeom prst="rect">
            <a:avLst/>
          </a:prstGeom>
        </p:spPr>
        <p:txBody>
          <a:bodyPr vert="horz" wrap="square" lIns="0" tIns="12543" rIns="0" bIns="0" rtlCol="0">
            <a:spAutoFit/>
          </a:bodyPr>
          <a:lstStyle/>
          <a:p>
            <a:pPr marL="12544" algn="ctr">
              <a:spcBef>
                <a:spcPts val="99"/>
              </a:spcBef>
            </a:pPr>
            <a:r>
              <a:rPr lang="en-US" sz="1400" b="1">
                <a:solidFill>
                  <a:srgbClr val="78BC43"/>
                </a:solidFill>
                <a:latin typeface="Helvetica"/>
                <a:cs typeface="Helvetica"/>
                <a:hlinkClick r:id="rId2"/>
              </a:rPr>
              <a:t>Click Here, For More Product Information!</a:t>
            </a:r>
            <a:endParaRPr sz="1400" b="1">
              <a:latin typeface="Helvetica"/>
              <a:cs typeface="Helvetica"/>
            </a:endParaRPr>
          </a:p>
        </p:txBody>
      </p:sp>
      <p:pic>
        <p:nvPicPr>
          <p:cNvPr id="4" name="object 5">
            <a:extLst>
              <a:ext uri="{FF2B5EF4-FFF2-40B4-BE49-F238E27FC236}">
                <a16:creationId xmlns:a16="http://schemas.microsoft.com/office/drawing/2014/main" id="{D0398D30-36D6-8520-D28A-1D9A1640CFA6}"/>
              </a:ext>
            </a:extLst>
          </p:cNvPr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92" y="732008"/>
            <a:ext cx="12192000" cy="3173268"/>
          </a:xfrm>
          <a:prstGeom prst="rect">
            <a:avLst/>
          </a:prstGeom>
        </p:spPr>
      </p:pic>
      <p:pic>
        <p:nvPicPr>
          <p:cNvPr id="65" name="object 2">
            <a:extLst>
              <a:ext uri="{FF2B5EF4-FFF2-40B4-BE49-F238E27FC236}">
                <a16:creationId xmlns:a16="http://schemas.microsoft.com/office/drawing/2014/main" id="{DD71B337-2EC3-83BA-E057-944CC3393FE3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729" y="5066561"/>
            <a:ext cx="4012811" cy="141486"/>
          </a:xfrm>
          <a:prstGeom prst="rect">
            <a:avLst/>
          </a:prstGeom>
        </p:spPr>
      </p:pic>
      <p:pic>
        <p:nvPicPr>
          <p:cNvPr id="67" name="object 17">
            <a:extLst>
              <a:ext uri="{FF2B5EF4-FFF2-40B4-BE49-F238E27FC236}">
                <a16:creationId xmlns:a16="http://schemas.microsoft.com/office/drawing/2014/main" id="{9FEF07F8-E9B0-D5F3-3C6E-DB0D6953818B}"/>
              </a:ext>
            </a:extLst>
          </p:cNvPr>
          <p:cNvPicPr/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025" y="4412662"/>
            <a:ext cx="1721914" cy="559048"/>
          </a:xfrm>
          <a:prstGeom prst="rect">
            <a:avLst/>
          </a:prstGeom>
        </p:spPr>
      </p:pic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61AED78C-B159-AC5B-A41D-2B11951773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24794" y="5521325"/>
            <a:ext cx="3336925" cy="611188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77BC1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3040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Image 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FA3E35-124F-217E-1454-AF084462A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61" y="256736"/>
            <a:ext cx="11055456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956619"/>
            <a:ext cx="5577840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489775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6076" y="1956373"/>
            <a:ext cx="4883394" cy="3933149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6DE0871-6501-4FA3-74B5-66C21313395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1361" y="743986"/>
            <a:ext cx="11055455" cy="466597"/>
          </a:xfrm>
        </p:spPr>
        <p:txBody>
          <a:bodyPr lIns="0" anchor="b">
            <a:noAutofit/>
          </a:bodyPr>
          <a:lstStyle>
            <a:lvl1pPr marL="0" indent="0">
              <a:spcBef>
                <a:spcPts val="0"/>
              </a:spcBef>
              <a:buNone/>
              <a:defRPr sz="3200" b="1">
                <a:solidFill>
                  <a:srgbClr val="00409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763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amp; Content 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FA3E35-124F-217E-1454-AF084462A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361" y="256736"/>
            <a:ext cx="11055456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361" y="1956619"/>
            <a:ext cx="5577840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1361" y="1489775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6DE0871-6501-4FA3-74B5-66C21313395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1361" y="743986"/>
            <a:ext cx="11055455" cy="466597"/>
          </a:xfrm>
        </p:spPr>
        <p:txBody>
          <a:bodyPr lIns="0" anchor="b">
            <a:noAutofit/>
          </a:bodyPr>
          <a:lstStyle>
            <a:lvl1pPr marL="0" indent="0">
              <a:spcBef>
                <a:spcPts val="0"/>
              </a:spcBef>
              <a:buNone/>
              <a:defRPr sz="3200" b="1">
                <a:solidFill>
                  <a:srgbClr val="00409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61091-3309-0177-57A4-657F0AB2D6D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450304" y="1956372"/>
            <a:ext cx="5126512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4456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&amp; Content 2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FA3E35-124F-217E-1454-AF084462A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478" y="256736"/>
            <a:ext cx="11043137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27ECD1-CDB6-DA8F-738A-F5C79AB8E8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963" y="1956619"/>
            <a:ext cx="5577840" cy="3932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301D193-47A3-7692-A43A-8826BD4322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998963" y="1489775"/>
            <a:ext cx="5577840" cy="466597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rgbClr val="00B0F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DCE7D255-496D-B22E-83C7-48BDBB274A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478" y="1956372"/>
            <a:ext cx="4883394" cy="393315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6DE0871-6501-4FA3-74B5-66C21313395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7478" y="743986"/>
            <a:ext cx="11040471" cy="466597"/>
          </a:xfrm>
        </p:spPr>
        <p:txBody>
          <a:bodyPr lIns="0" anchor="b">
            <a:noAutofit/>
          </a:bodyPr>
          <a:lstStyle>
            <a:lvl1pPr marL="0" indent="0">
              <a:spcBef>
                <a:spcPts val="0"/>
              </a:spcBef>
              <a:buNone/>
              <a:defRPr sz="3200" b="1">
                <a:solidFill>
                  <a:srgbClr val="00409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780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17.png"/><Relationship Id="rId7" Type="http://schemas.openxmlformats.org/officeDocument/2006/relationships/image" Target="../media/image19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Relationship Id="rId22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11" Type="http://schemas.openxmlformats.org/officeDocument/2006/relationships/image" Target="../media/image8.png"/><Relationship Id="rId5" Type="http://schemas.openxmlformats.org/officeDocument/2006/relationships/theme" Target="../theme/theme3.xml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841996-67D5-E214-5792-46227F7B8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AA8AAA-5832-05CA-0608-B89CABF2CD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105BC4-AC13-943E-0431-E63DEA518C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FF55F7B-10D8-4086-8051-984CBB374512}" type="datetimeFigureOut">
              <a:rPr lang="en-US"/>
              <a:t>11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1C6A7-D1A4-FEBE-9FD0-500690776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8E658-F51E-329E-CAF6-A70874C60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53302C6-78D7-43F7-83FB-DD833C04B6BC}" type="slidenum">
              <a:rPr lang="en-US"/>
              <a:t>‹#›</a:t>
            </a:fld>
            <a:endParaRPr lang="en-US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3F854A7A-AA15-4F24-080A-DC2A066DDF0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644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4" r:id="rId2"/>
    <p:sldLayoutId id="2147483742" r:id="rId3"/>
    <p:sldLayoutId id="2147483741" r:id="rId4"/>
    <p:sldLayoutId id="2147483740" r:id="rId5"/>
    <p:sldLayoutId id="214748373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8FE441-7D33-9DE9-5268-8B2CDC255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2" y="274320"/>
            <a:ext cx="10972800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B547E0-95B9-045D-B450-D96DEC111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361" y="1440143"/>
            <a:ext cx="5557706" cy="1988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9" name="object 8">
            <a:extLst>
              <a:ext uri="{FF2B5EF4-FFF2-40B4-BE49-F238E27FC236}">
                <a16:creationId xmlns:a16="http://schemas.microsoft.com/office/drawing/2014/main" id="{6F9AB0EC-D441-36CE-C0EC-E20404EB3299}"/>
              </a:ext>
            </a:extLst>
          </p:cNvPr>
          <p:cNvPicPr/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946" y="6394039"/>
            <a:ext cx="5401720" cy="131703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D6B458D7-C5B9-F7E1-16D7-77D2468DCA1F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41" name="object 10">
              <a:extLst>
                <a:ext uri="{FF2B5EF4-FFF2-40B4-BE49-F238E27FC236}">
                  <a16:creationId xmlns:a16="http://schemas.microsoft.com/office/drawing/2014/main" id="{09034356-B820-508A-4A98-FEE96324D447}"/>
                </a:ext>
              </a:extLst>
            </p:cNvPr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42" name="object 11">
              <a:extLst>
                <a:ext uri="{FF2B5EF4-FFF2-40B4-BE49-F238E27FC236}">
                  <a16:creationId xmlns:a16="http://schemas.microsoft.com/office/drawing/2014/main" id="{BEEF0475-686B-85B2-D5BF-68EB54713F0A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12">
              <a:extLst>
                <a:ext uri="{FF2B5EF4-FFF2-40B4-BE49-F238E27FC236}">
                  <a16:creationId xmlns:a16="http://schemas.microsoft.com/office/drawing/2014/main" id="{6C1A6DB0-2BE9-57E5-DD82-D00231C62CAE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44" name="object 13">
              <a:extLst>
                <a:ext uri="{FF2B5EF4-FFF2-40B4-BE49-F238E27FC236}">
                  <a16:creationId xmlns:a16="http://schemas.microsoft.com/office/drawing/2014/main" id="{0D156361-7025-BBCE-D931-51673E840163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45" name="object 14">
              <a:extLst>
                <a:ext uri="{FF2B5EF4-FFF2-40B4-BE49-F238E27FC236}">
                  <a16:creationId xmlns:a16="http://schemas.microsoft.com/office/drawing/2014/main" id="{50BA5C80-B1BD-B0C7-19DC-02982219EAC3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46" name="object 23">
              <a:extLst>
                <a:ext uri="{FF2B5EF4-FFF2-40B4-BE49-F238E27FC236}">
                  <a16:creationId xmlns:a16="http://schemas.microsoft.com/office/drawing/2014/main" id="{B6C1D452-A2D8-80E8-D628-7AFA9BF5A733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47" name="object 24">
              <a:extLst>
                <a:ext uri="{FF2B5EF4-FFF2-40B4-BE49-F238E27FC236}">
                  <a16:creationId xmlns:a16="http://schemas.microsoft.com/office/drawing/2014/main" id="{47D71730-A92C-1482-8AED-704541D982E4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48" name="object 25">
              <a:extLst>
                <a:ext uri="{FF2B5EF4-FFF2-40B4-BE49-F238E27FC236}">
                  <a16:creationId xmlns:a16="http://schemas.microsoft.com/office/drawing/2014/main" id="{AB47F556-21E2-28D5-1B03-A5B6279475AD}"/>
                </a:ext>
              </a:extLst>
            </p:cNvPr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49" name="object 26">
              <a:extLst>
                <a:ext uri="{FF2B5EF4-FFF2-40B4-BE49-F238E27FC236}">
                  <a16:creationId xmlns:a16="http://schemas.microsoft.com/office/drawing/2014/main" id="{8FD02215-05E8-3726-0A71-9F33F80AE447}"/>
                </a:ext>
              </a:extLst>
            </p:cNvPr>
            <p:cNvPicPr/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50" name="object 27">
              <a:extLst>
                <a:ext uri="{FF2B5EF4-FFF2-40B4-BE49-F238E27FC236}">
                  <a16:creationId xmlns:a16="http://schemas.microsoft.com/office/drawing/2014/main" id="{C31F88DD-D9D8-5DE5-C5D2-935682D96A65}"/>
                </a:ext>
              </a:extLst>
            </p:cNvPr>
            <p:cNvPicPr/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51" name="object 28">
              <a:extLst>
                <a:ext uri="{FF2B5EF4-FFF2-40B4-BE49-F238E27FC236}">
                  <a16:creationId xmlns:a16="http://schemas.microsoft.com/office/drawing/2014/main" id="{E6A69628-D383-C8CC-6530-8051977C3E47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52" name="object 29">
              <a:extLst>
                <a:ext uri="{FF2B5EF4-FFF2-40B4-BE49-F238E27FC236}">
                  <a16:creationId xmlns:a16="http://schemas.microsoft.com/office/drawing/2014/main" id="{BBADB14C-C76B-92AE-9B3A-D2D38B2DBCCB}"/>
                </a:ext>
              </a:extLst>
            </p:cNvPr>
            <p:cNvPicPr/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53" name="object 30">
              <a:extLst>
                <a:ext uri="{FF2B5EF4-FFF2-40B4-BE49-F238E27FC236}">
                  <a16:creationId xmlns:a16="http://schemas.microsoft.com/office/drawing/2014/main" id="{18FFD864-5FCF-67F4-AA39-B6370F585484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31">
              <a:extLst>
                <a:ext uri="{FF2B5EF4-FFF2-40B4-BE49-F238E27FC236}">
                  <a16:creationId xmlns:a16="http://schemas.microsoft.com/office/drawing/2014/main" id="{B75E615F-D2B4-47D8-BA3F-C61DD1936F03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32">
              <a:extLst>
                <a:ext uri="{FF2B5EF4-FFF2-40B4-BE49-F238E27FC236}">
                  <a16:creationId xmlns:a16="http://schemas.microsoft.com/office/drawing/2014/main" id="{99ED66B7-EAE2-3DA7-1290-A1513FBB2735}"/>
                </a:ext>
              </a:extLst>
            </p:cNvPr>
            <p:cNvPicPr/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56" name="object 33">
              <a:extLst>
                <a:ext uri="{FF2B5EF4-FFF2-40B4-BE49-F238E27FC236}">
                  <a16:creationId xmlns:a16="http://schemas.microsoft.com/office/drawing/2014/main" id="{68B10489-666A-56EF-495E-64A778F00809}"/>
                </a:ext>
              </a:extLst>
            </p:cNvPr>
            <p:cNvPicPr/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57" name="object 34">
              <a:extLst>
                <a:ext uri="{FF2B5EF4-FFF2-40B4-BE49-F238E27FC236}">
                  <a16:creationId xmlns:a16="http://schemas.microsoft.com/office/drawing/2014/main" id="{63A47E2F-9DDF-0909-9E2C-C90E0DEB798E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35">
              <a:extLst>
                <a:ext uri="{FF2B5EF4-FFF2-40B4-BE49-F238E27FC236}">
                  <a16:creationId xmlns:a16="http://schemas.microsoft.com/office/drawing/2014/main" id="{77E2C31B-90D9-4076-FDB5-023EFB6D1773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36">
              <a:extLst>
                <a:ext uri="{FF2B5EF4-FFF2-40B4-BE49-F238E27FC236}">
                  <a16:creationId xmlns:a16="http://schemas.microsoft.com/office/drawing/2014/main" id="{23913CE3-4197-0F7D-BFFC-DC55DA0103EA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60" name="object 37">
              <a:extLst>
                <a:ext uri="{FF2B5EF4-FFF2-40B4-BE49-F238E27FC236}">
                  <a16:creationId xmlns:a16="http://schemas.microsoft.com/office/drawing/2014/main" id="{BCDEFDA9-B0B7-8487-D89A-027E06E292CA}"/>
                </a:ext>
              </a:extLst>
            </p:cNvPr>
            <p:cNvPicPr/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61" name="object 38">
              <a:extLst>
                <a:ext uri="{FF2B5EF4-FFF2-40B4-BE49-F238E27FC236}">
                  <a16:creationId xmlns:a16="http://schemas.microsoft.com/office/drawing/2014/main" id="{E210E772-431A-B994-DF02-60F76BEAD05E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65" name="object 39">
                <a:extLst>
                  <a:ext uri="{FF2B5EF4-FFF2-40B4-BE49-F238E27FC236}">
                    <a16:creationId xmlns:a16="http://schemas.microsoft.com/office/drawing/2014/main" id="{4AE1E68A-F25F-6473-48EF-91C032175996}"/>
                  </a:ext>
                </a:extLst>
              </p:cNvPr>
              <p:cNvPicPr/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6" name="object 40">
                <a:extLst>
                  <a:ext uri="{FF2B5EF4-FFF2-40B4-BE49-F238E27FC236}">
                    <a16:creationId xmlns:a16="http://schemas.microsoft.com/office/drawing/2014/main" id="{5640D469-22B4-B691-8BDB-FA85CE7F835C}"/>
                  </a:ext>
                </a:extLst>
              </p:cNvPr>
              <p:cNvPicPr/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7" name="object 41">
                <a:extLst>
                  <a:ext uri="{FF2B5EF4-FFF2-40B4-BE49-F238E27FC236}">
                    <a16:creationId xmlns:a16="http://schemas.microsoft.com/office/drawing/2014/main" id="{1CBF7559-2887-D780-E1AB-7A4F9F069F3F}"/>
                  </a:ext>
                </a:extLst>
              </p:cNvPr>
              <p:cNvPicPr/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8" name="object 42">
                <a:extLst>
                  <a:ext uri="{FF2B5EF4-FFF2-40B4-BE49-F238E27FC236}">
                    <a16:creationId xmlns:a16="http://schemas.microsoft.com/office/drawing/2014/main" id="{4D091CDC-DB27-4CED-D840-9EEA2F69969A}"/>
                  </a:ext>
                </a:extLst>
              </p:cNvPr>
              <p:cNvPicPr/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62" name="object 43">
              <a:extLst>
                <a:ext uri="{FF2B5EF4-FFF2-40B4-BE49-F238E27FC236}">
                  <a16:creationId xmlns:a16="http://schemas.microsoft.com/office/drawing/2014/main" id="{79A95DAD-DC12-1EB7-2462-CD824022722E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63" name="object 44">
                <a:extLst>
                  <a:ext uri="{FF2B5EF4-FFF2-40B4-BE49-F238E27FC236}">
                    <a16:creationId xmlns:a16="http://schemas.microsoft.com/office/drawing/2014/main" id="{8883BE6B-69E3-7087-CA30-EFDE6A8CE6EA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4" name="object 45">
                <a:extLst>
                  <a:ext uri="{FF2B5EF4-FFF2-40B4-BE49-F238E27FC236}">
                    <a16:creationId xmlns:a16="http://schemas.microsoft.com/office/drawing/2014/main" id="{3370C2F9-E4D8-0069-C8DF-70221E8E7E2E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69" name="object 9">
            <a:extLst>
              <a:ext uri="{FF2B5EF4-FFF2-40B4-BE49-F238E27FC236}">
                <a16:creationId xmlns:a16="http://schemas.microsoft.com/office/drawing/2014/main" id="{FC42E038-F2EE-ABAC-020C-50BE16A2324C}"/>
              </a:ext>
            </a:extLst>
          </p:cNvPr>
          <p:cNvSpPr/>
          <p:nvPr userDrawn="1"/>
        </p:nvSpPr>
        <p:spPr>
          <a:xfrm>
            <a:off x="11415041" y="6263553"/>
            <a:ext cx="379432" cy="371906"/>
          </a:xfrm>
          <a:custGeom>
            <a:avLst/>
            <a:gdLst/>
            <a:ahLst/>
            <a:cxnLst/>
            <a:rect l="l" t="t" r="r" b="b"/>
            <a:pathLst>
              <a:path w="384175" h="376554">
                <a:moveTo>
                  <a:pt x="383819" y="0"/>
                </a:moveTo>
                <a:lnTo>
                  <a:pt x="0" y="0"/>
                </a:lnTo>
                <a:lnTo>
                  <a:pt x="0" y="376300"/>
                </a:lnTo>
                <a:lnTo>
                  <a:pt x="383819" y="376300"/>
                </a:lnTo>
                <a:lnTo>
                  <a:pt x="3838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47">
            <a:extLst>
              <a:ext uri="{FF2B5EF4-FFF2-40B4-BE49-F238E27FC236}">
                <a16:creationId xmlns:a16="http://schemas.microsoft.com/office/drawing/2014/main" id="{ACA2C122-A446-0A5D-BF29-10AB46B4FEEC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object 36">
            <a:extLst>
              <a:ext uri="{FF2B5EF4-FFF2-40B4-BE49-F238E27FC236}">
                <a16:creationId xmlns:a16="http://schemas.microsoft.com/office/drawing/2014/main" id="{E0F7D98D-66DD-0C36-763E-6FF530D491A8}"/>
              </a:ext>
            </a:extLst>
          </p:cNvPr>
          <p:cNvSpPr/>
          <p:nvPr userDrawn="1"/>
        </p:nvSpPr>
        <p:spPr>
          <a:xfrm>
            <a:off x="536332" y="123132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9544E91B-50F3-24A6-88B3-FAD0A4E43BB2}"/>
              </a:ext>
            </a:extLst>
          </p:cNvPr>
          <p:cNvSpPr/>
          <p:nvPr userDrawn="1"/>
        </p:nvSpPr>
        <p:spPr>
          <a:xfrm>
            <a:off x="1158275" y="123132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9" name="object 38">
            <a:extLst>
              <a:ext uri="{FF2B5EF4-FFF2-40B4-BE49-F238E27FC236}">
                <a16:creationId xmlns:a16="http://schemas.microsoft.com/office/drawing/2014/main" id="{C45C8FFE-E12D-58C9-558B-6CCDBECB8D0E}"/>
              </a:ext>
            </a:extLst>
          </p:cNvPr>
          <p:cNvSpPr/>
          <p:nvPr userDrawn="1"/>
        </p:nvSpPr>
        <p:spPr>
          <a:xfrm>
            <a:off x="1773381" y="123132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8067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3" r:id="rId2"/>
    <p:sldLayoutId id="2147483719" r:id="rId3"/>
    <p:sldLayoutId id="2147483733" r:id="rId4"/>
    <p:sldLayoutId id="214748372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rgbClr val="77BC1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8FE441-7D33-9DE9-5268-8B2CDC255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32" y="274320"/>
            <a:ext cx="10972800" cy="406717"/>
          </a:xfrm>
          <a:prstGeom prst="rect">
            <a:avLst/>
          </a:prstGeom>
        </p:spPr>
        <p:txBody>
          <a:bodyPr vert="horz" lIns="0" tIns="9144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B547E0-95B9-045D-B450-D96DEC111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361" y="1061709"/>
            <a:ext cx="5557706" cy="48705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9" name="object 8">
            <a:extLst>
              <a:ext uri="{FF2B5EF4-FFF2-40B4-BE49-F238E27FC236}">
                <a16:creationId xmlns:a16="http://schemas.microsoft.com/office/drawing/2014/main" id="{6F9AB0EC-D441-36CE-C0EC-E20404EB3299}"/>
              </a:ext>
            </a:extLst>
          </p:cNvPr>
          <p:cNvPicPr/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946" y="6394039"/>
            <a:ext cx="5401720" cy="131703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D6B458D7-C5B9-F7E1-16D7-77D2468DCA1F}"/>
              </a:ext>
            </a:extLst>
          </p:cNvPr>
          <p:cNvGrpSpPr/>
          <p:nvPr userDrawn="1"/>
        </p:nvGrpSpPr>
        <p:grpSpPr>
          <a:xfrm>
            <a:off x="303682" y="6193436"/>
            <a:ext cx="6284965" cy="499582"/>
            <a:chOff x="307478" y="6227991"/>
            <a:chExt cx="6363527" cy="505827"/>
          </a:xfrm>
        </p:grpSpPr>
        <p:pic>
          <p:nvPicPr>
            <p:cNvPr id="41" name="object 10">
              <a:extLst>
                <a:ext uri="{FF2B5EF4-FFF2-40B4-BE49-F238E27FC236}">
                  <a16:creationId xmlns:a16="http://schemas.microsoft.com/office/drawing/2014/main" id="{09034356-B820-508A-4A98-FEE96324D447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2719" y="6417405"/>
              <a:ext cx="96202" cy="134302"/>
            </a:xfrm>
            <a:prstGeom prst="rect">
              <a:avLst/>
            </a:prstGeom>
          </p:spPr>
        </p:pic>
        <p:sp>
          <p:nvSpPr>
            <p:cNvPr id="42" name="object 11">
              <a:extLst>
                <a:ext uri="{FF2B5EF4-FFF2-40B4-BE49-F238E27FC236}">
                  <a16:creationId xmlns:a16="http://schemas.microsoft.com/office/drawing/2014/main" id="{BEEF0475-686B-85B2-D5BF-68EB54713F0A}"/>
                </a:ext>
              </a:extLst>
            </p:cNvPr>
            <p:cNvSpPr/>
            <p:nvPr/>
          </p:nvSpPr>
          <p:spPr>
            <a:xfrm>
              <a:off x="6004221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12">
              <a:extLst>
                <a:ext uri="{FF2B5EF4-FFF2-40B4-BE49-F238E27FC236}">
                  <a16:creationId xmlns:a16="http://schemas.microsoft.com/office/drawing/2014/main" id="{6C1A6DB0-2BE9-57E5-DD82-D00231C62CAE}"/>
                </a:ext>
              </a:extLst>
            </p:cNvPr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6824" y="6417405"/>
              <a:ext cx="96202" cy="134302"/>
            </a:xfrm>
            <a:prstGeom prst="rect">
              <a:avLst/>
            </a:prstGeom>
          </p:spPr>
        </p:pic>
        <p:pic>
          <p:nvPicPr>
            <p:cNvPr id="44" name="object 13">
              <a:extLst>
                <a:ext uri="{FF2B5EF4-FFF2-40B4-BE49-F238E27FC236}">
                  <a16:creationId xmlns:a16="http://schemas.microsoft.com/office/drawing/2014/main" id="{0D156361-7025-BBCE-D931-51673E840163}"/>
                </a:ext>
              </a:extLst>
            </p:cNvPr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9156" y="6417401"/>
              <a:ext cx="94094" cy="132765"/>
            </a:xfrm>
            <a:prstGeom prst="rect">
              <a:avLst/>
            </a:prstGeom>
          </p:spPr>
        </p:pic>
        <p:pic>
          <p:nvPicPr>
            <p:cNvPr id="45" name="object 14">
              <a:extLst>
                <a:ext uri="{FF2B5EF4-FFF2-40B4-BE49-F238E27FC236}">
                  <a16:creationId xmlns:a16="http://schemas.microsoft.com/office/drawing/2014/main" id="{50BA5C80-B1BD-B0C7-19DC-02982219EAC3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90957" y="6417405"/>
              <a:ext cx="80048" cy="132765"/>
            </a:xfrm>
            <a:prstGeom prst="rect">
              <a:avLst/>
            </a:prstGeom>
          </p:spPr>
        </p:pic>
        <p:pic>
          <p:nvPicPr>
            <p:cNvPr id="46" name="object 23">
              <a:extLst>
                <a:ext uri="{FF2B5EF4-FFF2-40B4-BE49-F238E27FC236}">
                  <a16:creationId xmlns:a16="http://schemas.microsoft.com/office/drawing/2014/main" id="{B6C1D452-A2D8-80E8-D628-7AFA9BF5A733}"/>
                </a:ext>
              </a:extLst>
            </p:cNvPr>
            <p:cNvPicPr/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7478" y="6227991"/>
              <a:ext cx="1633711" cy="438221"/>
            </a:xfrm>
            <a:prstGeom prst="rect">
              <a:avLst/>
            </a:prstGeom>
          </p:spPr>
        </p:pic>
        <p:pic>
          <p:nvPicPr>
            <p:cNvPr id="47" name="object 24">
              <a:extLst>
                <a:ext uri="{FF2B5EF4-FFF2-40B4-BE49-F238E27FC236}">
                  <a16:creationId xmlns:a16="http://schemas.microsoft.com/office/drawing/2014/main" id="{47D71730-A92C-1482-8AED-704541D982E4}"/>
                </a:ext>
              </a:extLst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2357" y="6415873"/>
              <a:ext cx="95821" cy="135839"/>
            </a:xfrm>
            <a:prstGeom prst="rect">
              <a:avLst/>
            </a:prstGeom>
          </p:spPr>
        </p:pic>
        <p:pic>
          <p:nvPicPr>
            <p:cNvPr id="48" name="object 25">
              <a:extLst>
                <a:ext uri="{FF2B5EF4-FFF2-40B4-BE49-F238E27FC236}">
                  <a16:creationId xmlns:a16="http://schemas.microsoft.com/office/drawing/2014/main" id="{AB47F556-21E2-28D5-1B03-A5B6279475AD}"/>
                </a:ext>
              </a:extLst>
            </p:cNvPr>
            <p:cNvPicPr/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2056" y="6415868"/>
              <a:ext cx="96202" cy="135839"/>
            </a:xfrm>
            <a:prstGeom prst="rect">
              <a:avLst/>
            </a:prstGeom>
          </p:spPr>
        </p:pic>
        <p:pic>
          <p:nvPicPr>
            <p:cNvPr id="49" name="object 26">
              <a:extLst>
                <a:ext uri="{FF2B5EF4-FFF2-40B4-BE49-F238E27FC236}">
                  <a16:creationId xmlns:a16="http://schemas.microsoft.com/office/drawing/2014/main" id="{8FD02215-05E8-3726-0A71-9F33F80AE447}"/>
                </a:ext>
              </a:extLst>
            </p:cNvPr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9668" y="6417405"/>
              <a:ext cx="90042" cy="132765"/>
            </a:xfrm>
            <a:prstGeom prst="rect">
              <a:avLst/>
            </a:prstGeom>
          </p:spPr>
        </p:pic>
        <p:pic>
          <p:nvPicPr>
            <p:cNvPr id="50" name="object 27">
              <a:extLst>
                <a:ext uri="{FF2B5EF4-FFF2-40B4-BE49-F238E27FC236}">
                  <a16:creationId xmlns:a16="http://schemas.microsoft.com/office/drawing/2014/main" id="{C31F88DD-D9D8-5DE5-C5D2-935682D96A65}"/>
                </a:ext>
              </a:extLst>
            </p:cNvPr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56102" y="6417405"/>
              <a:ext cx="90042" cy="132765"/>
            </a:xfrm>
            <a:prstGeom prst="rect">
              <a:avLst/>
            </a:prstGeom>
          </p:spPr>
        </p:pic>
        <p:pic>
          <p:nvPicPr>
            <p:cNvPr id="51" name="object 28">
              <a:extLst>
                <a:ext uri="{FF2B5EF4-FFF2-40B4-BE49-F238E27FC236}">
                  <a16:creationId xmlns:a16="http://schemas.microsoft.com/office/drawing/2014/main" id="{E6A69628-D383-C8CC-6530-8051977C3E47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2532" y="6417405"/>
              <a:ext cx="80048" cy="132765"/>
            </a:xfrm>
            <a:prstGeom prst="rect">
              <a:avLst/>
            </a:prstGeom>
          </p:spPr>
        </p:pic>
        <p:pic>
          <p:nvPicPr>
            <p:cNvPr id="52" name="object 29">
              <a:extLst>
                <a:ext uri="{FF2B5EF4-FFF2-40B4-BE49-F238E27FC236}">
                  <a16:creationId xmlns:a16="http://schemas.microsoft.com/office/drawing/2014/main" id="{BBADB14C-C76B-92AE-9B3A-D2D38B2DBCCB}"/>
                </a:ext>
              </a:extLst>
            </p:cNvPr>
            <p:cNvPicPr/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4890" y="6415873"/>
              <a:ext cx="95821" cy="135839"/>
            </a:xfrm>
            <a:prstGeom prst="rect">
              <a:avLst/>
            </a:prstGeom>
          </p:spPr>
        </p:pic>
        <p:sp>
          <p:nvSpPr>
            <p:cNvPr id="53" name="object 30">
              <a:extLst>
                <a:ext uri="{FF2B5EF4-FFF2-40B4-BE49-F238E27FC236}">
                  <a16:creationId xmlns:a16="http://schemas.microsoft.com/office/drawing/2014/main" id="{18FFD864-5FCF-67F4-AA39-B6370F585484}"/>
                </a:ext>
              </a:extLst>
            </p:cNvPr>
            <p:cNvSpPr/>
            <p:nvPr/>
          </p:nvSpPr>
          <p:spPr>
            <a:xfrm>
              <a:off x="4106684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31">
              <a:extLst>
                <a:ext uri="{FF2B5EF4-FFF2-40B4-BE49-F238E27FC236}">
                  <a16:creationId xmlns:a16="http://schemas.microsoft.com/office/drawing/2014/main" id="{B75E615F-D2B4-47D8-BA3F-C61DD1936F03}"/>
                </a:ext>
              </a:extLst>
            </p:cNvPr>
            <p:cNvSpPr/>
            <p:nvPr/>
          </p:nvSpPr>
          <p:spPr>
            <a:xfrm>
              <a:off x="4300308" y="6417411"/>
              <a:ext cx="17145" cy="133350"/>
            </a:xfrm>
            <a:custGeom>
              <a:avLst/>
              <a:gdLst/>
              <a:ahLst/>
              <a:cxnLst/>
              <a:rect l="l" t="t" r="r" b="b"/>
              <a:pathLst>
                <a:path w="17145" h="133350">
                  <a:moveTo>
                    <a:pt x="16548" y="0"/>
                  </a:moveTo>
                  <a:lnTo>
                    <a:pt x="0" y="0"/>
                  </a:lnTo>
                  <a:lnTo>
                    <a:pt x="0" y="132765"/>
                  </a:lnTo>
                  <a:lnTo>
                    <a:pt x="16548" y="132765"/>
                  </a:lnTo>
                  <a:lnTo>
                    <a:pt x="16548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32">
              <a:extLst>
                <a:ext uri="{FF2B5EF4-FFF2-40B4-BE49-F238E27FC236}">
                  <a16:creationId xmlns:a16="http://schemas.microsoft.com/office/drawing/2014/main" id="{99ED66B7-EAE2-3DA7-1290-A1513FBB2735}"/>
                </a:ext>
              </a:extLst>
            </p:cNvPr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3936" y="6417405"/>
              <a:ext cx="90042" cy="132765"/>
            </a:xfrm>
            <a:prstGeom prst="rect">
              <a:avLst/>
            </a:prstGeom>
          </p:spPr>
        </p:pic>
        <p:pic>
          <p:nvPicPr>
            <p:cNvPr id="56" name="object 33">
              <a:extLst>
                <a:ext uri="{FF2B5EF4-FFF2-40B4-BE49-F238E27FC236}">
                  <a16:creationId xmlns:a16="http://schemas.microsoft.com/office/drawing/2014/main" id="{68B10489-666A-56EF-495E-64A778F00809}"/>
                </a:ext>
              </a:extLst>
            </p:cNvPr>
            <p:cNvPicPr/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5372" y="6415864"/>
              <a:ext cx="96977" cy="135839"/>
            </a:xfrm>
            <a:prstGeom prst="rect">
              <a:avLst/>
            </a:prstGeom>
          </p:spPr>
        </p:pic>
        <p:sp>
          <p:nvSpPr>
            <p:cNvPr id="57" name="object 34">
              <a:extLst>
                <a:ext uri="{FF2B5EF4-FFF2-40B4-BE49-F238E27FC236}">
                  <a16:creationId xmlns:a16="http://schemas.microsoft.com/office/drawing/2014/main" id="{63A47E2F-9DDF-0909-9E2C-C90E0DEB798E}"/>
                </a:ext>
              </a:extLst>
            </p:cNvPr>
            <p:cNvSpPr/>
            <p:nvPr/>
          </p:nvSpPr>
          <p:spPr>
            <a:xfrm>
              <a:off x="4925009" y="6417411"/>
              <a:ext cx="97790" cy="133350"/>
            </a:xfrm>
            <a:custGeom>
              <a:avLst/>
              <a:gdLst/>
              <a:ahLst/>
              <a:cxnLst/>
              <a:rect l="l" t="t" r="r" b="b"/>
              <a:pathLst>
                <a:path w="97789" h="133350">
                  <a:moveTo>
                    <a:pt x="9737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40411" y="15240"/>
                  </a:lnTo>
                  <a:lnTo>
                    <a:pt x="40411" y="133350"/>
                  </a:lnTo>
                  <a:lnTo>
                    <a:pt x="56959" y="133350"/>
                  </a:lnTo>
                  <a:lnTo>
                    <a:pt x="56959" y="15240"/>
                  </a:lnTo>
                  <a:lnTo>
                    <a:pt x="97370" y="15240"/>
                  </a:lnTo>
                  <a:lnTo>
                    <a:pt x="97370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35">
              <a:extLst>
                <a:ext uri="{FF2B5EF4-FFF2-40B4-BE49-F238E27FC236}">
                  <a16:creationId xmlns:a16="http://schemas.microsoft.com/office/drawing/2014/main" id="{77E2C31B-90D9-4076-FDB5-023EFB6D1773}"/>
                </a:ext>
              </a:extLst>
            </p:cNvPr>
            <p:cNvSpPr/>
            <p:nvPr/>
          </p:nvSpPr>
          <p:spPr>
            <a:xfrm>
              <a:off x="5117605" y="6416840"/>
              <a:ext cx="90170" cy="133350"/>
            </a:xfrm>
            <a:custGeom>
              <a:avLst/>
              <a:gdLst/>
              <a:ahLst/>
              <a:cxnLst/>
              <a:rect l="l" t="t" r="r" b="b"/>
              <a:pathLst>
                <a:path w="90170" h="133350">
                  <a:moveTo>
                    <a:pt x="90043" y="0"/>
                  </a:moveTo>
                  <a:lnTo>
                    <a:pt x="73494" y="0"/>
                  </a:lnTo>
                  <a:lnTo>
                    <a:pt x="73494" y="57150"/>
                  </a:lnTo>
                  <a:lnTo>
                    <a:pt x="16535" y="57150"/>
                  </a:lnTo>
                  <a:lnTo>
                    <a:pt x="16535" y="0"/>
                  </a:lnTo>
                  <a:lnTo>
                    <a:pt x="0" y="0"/>
                  </a:lnTo>
                  <a:lnTo>
                    <a:pt x="0" y="57150"/>
                  </a:lnTo>
                  <a:lnTo>
                    <a:pt x="0" y="72390"/>
                  </a:lnTo>
                  <a:lnTo>
                    <a:pt x="0" y="133350"/>
                  </a:lnTo>
                  <a:lnTo>
                    <a:pt x="16535" y="133350"/>
                  </a:lnTo>
                  <a:lnTo>
                    <a:pt x="16535" y="72390"/>
                  </a:lnTo>
                  <a:lnTo>
                    <a:pt x="73494" y="72390"/>
                  </a:lnTo>
                  <a:lnTo>
                    <a:pt x="73494" y="133350"/>
                  </a:lnTo>
                  <a:lnTo>
                    <a:pt x="90043" y="133350"/>
                  </a:lnTo>
                  <a:lnTo>
                    <a:pt x="90043" y="72390"/>
                  </a:lnTo>
                  <a:lnTo>
                    <a:pt x="90043" y="57150"/>
                  </a:lnTo>
                  <a:lnTo>
                    <a:pt x="90043" y="0"/>
                  </a:lnTo>
                  <a:close/>
                </a:path>
              </a:pathLst>
            </a:custGeom>
            <a:solidFill>
              <a:srgbClr val="2240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36">
              <a:extLst>
                <a:ext uri="{FF2B5EF4-FFF2-40B4-BE49-F238E27FC236}">
                  <a16:creationId xmlns:a16="http://schemas.microsoft.com/office/drawing/2014/main" id="{23913CE3-4197-0F7D-BFFC-DC55DA0103EA}"/>
                </a:ext>
              </a:extLst>
            </p:cNvPr>
            <p:cNvPicPr/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035" y="6417405"/>
              <a:ext cx="80048" cy="132765"/>
            </a:xfrm>
            <a:prstGeom prst="rect">
              <a:avLst/>
            </a:prstGeom>
          </p:spPr>
        </p:pic>
        <p:pic>
          <p:nvPicPr>
            <p:cNvPr id="60" name="object 37">
              <a:extLst>
                <a:ext uri="{FF2B5EF4-FFF2-40B4-BE49-F238E27FC236}">
                  <a16:creationId xmlns:a16="http://schemas.microsoft.com/office/drawing/2014/main" id="{BCDEFDA9-B0B7-8487-D89A-027E06E292CA}"/>
                </a:ext>
              </a:extLst>
            </p:cNvPr>
            <p:cNvPicPr/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0194" y="6417405"/>
              <a:ext cx="80048" cy="132765"/>
            </a:xfrm>
            <a:prstGeom prst="rect">
              <a:avLst/>
            </a:prstGeom>
          </p:spPr>
        </p:pic>
        <p:grpSp>
          <p:nvGrpSpPr>
            <p:cNvPr id="61" name="object 38">
              <a:extLst>
                <a:ext uri="{FF2B5EF4-FFF2-40B4-BE49-F238E27FC236}">
                  <a16:creationId xmlns:a16="http://schemas.microsoft.com/office/drawing/2014/main" id="{E210E772-431A-B994-DF02-60F76BEAD05E}"/>
                </a:ext>
              </a:extLst>
            </p:cNvPr>
            <p:cNvGrpSpPr/>
            <p:nvPr/>
          </p:nvGrpSpPr>
          <p:grpSpPr>
            <a:xfrm>
              <a:off x="2516490" y="6417354"/>
              <a:ext cx="402590" cy="140335"/>
              <a:chOff x="2516490" y="6417354"/>
              <a:chExt cx="402590" cy="140335"/>
            </a:xfrm>
          </p:grpSpPr>
          <p:pic>
            <p:nvPicPr>
              <p:cNvPr id="65" name="object 39">
                <a:extLst>
                  <a:ext uri="{FF2B5EF4-FFF2-40B4-BE49-F238E27FC236}">
                    <a16:creationId xmlns:a16="http://schemas.microsoft.com/office/drawing/2014/main" id="{4AE1E68A-F25F-6473-48EF-91C032175996}"/>
                  </a:ext>
                </a:extLst>
              </p:cNvPr>
              <p:cNvPicPr/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3802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6" name="object 40">
                <a:extLst>
                  <a:ext uri="{FF2B5EF4-FFF2-40B4-BE49-F238E27FC236}">
                    <a16:creationId xmlns:a16="http://schemas.microsoft.com/office/drawing/2014/main" id="{5640D469-22B4-B691-8BDB-FA85CE7F835C}"/>
                  </a:ext>
                </a:extLst>
              </p:cNvPr>
              <p:cNvPicPr/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8792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7" name="object 41">
                <a:extLst>
                  <a:ext uri="{FF2B5EF4-FFF2-40B4-BE49-F238E27FC236}">
                    <a16:creationId xmlns:a16="http://schemas.microsoft.com/office/drawing/2014/main" id="{1CBF7559-2887-D780-E1AB-7A4F9F069F3F}"/>
                  </a:ext>
                </a:extLst>
              </p:cNvPr>
              <p:cNvPicPr/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16490" y="6417354"/>
                <a:ext cx="69938" cy="139877"/>
              </a:xfrm>
              <a:prstGeom prst="rect">
                <a:avLst/>
              </a:prstGeom>
            </p:spPr>
          </p:pic>
          <p:pic>
            <p:nvPicPr>
              <p:cNvPr id="68" name="object 42">
                <a:extLst>
                  <a:ext uri="{FF2B5EF4-FFF2-40B4-BE49-F238E27FC236}">
                    <a16:creationId xmlns:a16="http://schemas.microsoft.com/office/drawing/2014/main" id="{4D091CDC-DB27-4CED-D840-9EEA2F69969A}"/>
                  </a:ext>
                </a:extLst>
              </p:cNvPr>
              <p:cNvPicPr/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27278" y="6417354"/>
                <a:ext cx="69938" cy="139877"/>
              </a:xfrm>
              <a:prstGeom prst="rect">
                <a:avLst/>
              </a:prstGeom>
            </p:spPr>
          </p:pic>
        </p:grpSp>
        <p:grpSp>
          <p:nvGrpSpPr>
            <p:cNvPr id="62" name="object 43">
              <a:extLst>
                <a:ext uri="{FF2B5EF4-FFF2-40B4-BE49-F238E27FC236}">
                  <a16:creationId xmlns:a16="http://schemas.microsoft.com/office/drawing/2014/main" id="{79A95DAD-DC12-1EB7-2462-CD824022722E}"/>
                </a:ext>
              </a:extLst>
            </p:cNvPr>
            <p:cNvGrpSpPr/>
            <p:nvPr/>
          </p:nvGrpSpPr>
          <p:grpSpPr>
            <a:xfrm>
              <a:off x="2206763" y="6242328"/>
              <a:ext cx="6350" cy="491490"/>
              <a:chOff x="2206763" y="6242328"/>
              <a:chExt cx="6350" cy="491490"/>
            </a:xfrm>
          </p:grpSpPr>
          <p:sp>
            <p:nvSpPr>
              <p:cNvPr id="63" name="object 44">
                <a:extLst>
                  <a:ext uri="{FF2B5EF4-FFF2-40B4-BE49-F238E27FC236}">
                    <a16:creationId xmlns:a16="http://schemas.microsoft.com/office/drawing/2014/main" id="{8883BE6B-69E3-7087-CA30-EFDE6A8CE6EA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solidFill>
                <a:srgbClr val="58595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4" name="object 45">
                <a:extLst>
                  <a:ext uri="{FF2B5EF4-FFF2-40B4-BE49-F238E27FC236}">
                    <a16:creationId xmlns:a16="http://schemas.microsoft.com/office/drawing/2014/main" id="{3370C2F9-E4D8-0069-C8DF-70221E8E7E2E}"/>
                  </a:ext>
                </a:extLst>
              </p:cNvPr>
              <p:cNvSpPr/>
              <p:nvPr/>
            </p:nvSpPr>
            <p:spPr>
              <a:xfrm>
                <a:off x="2209938" y="6242328"/>
                <a:ext cx="0" cy="491490"/>
              </a:xfrm>
              <a:custGeom>
                <a:avLst/>
                <a:gdLst/>
                <a:ahLst/>
                <a:cxnLst/>
                <a:rect l="l" t="t" r="r" b="b"/>
                <a:pathLst>
                  <a:path h="491490">
                    <a:moveTo>
                      <a:pt x="0" y="0"/>
                    </a:moveTo>
                    <a:lnTo>
                      <a:pt x="0" y="491070"/>
                    </a:lnTo>
                  </a:path>
                </a:pathLst>
              </a:custGeom>
              <a:ln w="6350">
                <a:solidFill>
                  <a:srgbClr val="58595B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69" name="object 9">
            <a:extLst>
              <a:ext uri="{FF2B5EF4-FFF2-40B4-BE49-F238E27FC236}">
                <a16:creationId xmlns:a16="http://schemas.microsoft.com/office/drawing/2014/main" id="{FC42E038-F2EE-ABAC-020C-50BE16A2324C}"/>
              </a:ext>
            </a:extLst>
          </p:cNvPr>
          <p:cNvSpPr/>
          <p:nvPr userDrawn="1"/>
        </p:nvSpPr>
        <p:spPr>
          <a:xfrm>
            <a:off x="11415041" y="6263553"/>
            <a:ext cx="379432" cy="371906"/>
          </a:xfrm>
          <a:custGeom>
            <a:avLst/>
            <a:gdLst/>
            <a:ahLst/>
            <a:cxnLst/>
            <a:rect l="l" t="t" r="r" b="b"/>
            <a:pathLst>
              <a:path w="384175" h="376554">
                <a:moveTo>
                  <a:pt x="383819" y="0"/>
                </a:moveTo>
                <a:lnTo>
                  <a:pt x="0" y="0"/>
                </a:lnTo>
                <a:lnTo>
                  <a:pt x="0" y="376300"/>
                </a:lnTo>
                <a:lnTo>
                  <a:pt x="383819" y="376300"/>
                </a:lnTo>
                <a:lnTo>
                  <a:pt x="3838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47">
            <a:extLst>
              <a:ext uri="{FF2B5EF4-FFF2-40B4-BE49-F238E27FC236}">
                <a16:creationId xmlns:a16="http://schemas.microsoft.com/office/drawing/2014/main" id="{ACA2C122-A446-0A5D-BF29-10AB46B4FEEC}"/>
              </a:ext>
            </a:extLst>
          </p:cNvPr>
          <p:cNvSpPr txBox="1">
            <a:spLocks/>
          </p:cNvSpPr>
          <p:nvPr userDrawn="1"/>
        </p:nvSpPr>
        <p:spPr>
          <a:xfrm>
            <a:off x="11489120" y="6345936"/>
            <a:ext cx="495300" cy="195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</a:lstStyle>
          <a:p>
            <a:pPr marL="67109">
              <a:lnSpc>
                <a:spcPts val="1728"/>
              </a:lnSpc>
            </a:pPr>
            <a:fld id="{81D60167-4931-47E6-BA6A-407CBD079E47}" type="slidenum"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pPr marL="67109">
                <a:lnSpc>
                  <a:spcPts val="1728"/>
                </a:lnSpc>
              </a:pPr>
              <a:t>‹#›</a:t>
            </a:fld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object 36">
            <a:extLst>
              <a:ext uri="{FF2B5EF4-FFF2-40B4-BE49-F238E27FC236}">
                <a16:creationId xmlns:a16="http://schemas.microsoft.com/office/drawing/2014/main" id="{E0F7D98D-66DD-0C36-763E-6FF530D491A8}"/>
              </a:ext>
            </a:extLst>
          </p:cNvPr>
          <p:cNvSpPr/>
          <p:nvPr userDrawn="1"/>
        </p:nvSpPr>
        <p:spPr>
          <a:xfrm>
            <a:off x="536332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09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1C4593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9544E91B-50F3-24A6-88B3-FAD0A4E43BB2}"/>
              </a:ext>
            </a:extLst>
          </p:cNvPr>
          <p:cNvSpPr/>
          <p:nvPr userDrawn="1"/>
        </p:nvSpPr>
        <p:spPr>
          <a:xfrm>
            <a:off x="1158275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B5C7E4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  <p:sp>
        <p:nvSpPr>
          <p:cNvPr id="9" name="object 38">
            <a:extLst>
              <a:ext uri="{FF2B5EF4-FFF2-40B4-BE49-F238E27FC236}">
                <a16:creationId xmlns:a16="http://schemas.microsoft.com/office/drawing/2014/main" id="{C45C8FFE-E12D-58C9-558B-6CCDBECB8D0E}"/>
              </a:ext>
            </a:extLst>
          </p:cNvPr>
          <p:cNvSpPr/>
          <p:nvPr userDrawn="1"/>
        </p:nvSpPr>
        <p:spPr>
          <a:xfrm>
            <a:off x="1773381" y="800504"/>
            <a:ext cx="505490" cy="141738"/>
          </a:xfrm>
          <a:custGeom>
            <a:avLst/>
            <a:gdLst/>
            <a:ahLst/>
            <a:cxnLst/>
            <a:rect l="l" t="t" r="r" b="b"/>
            <a:pathLst>
              <a:path w="511810" h="143510">
                <a:moveTo>
                  <a:pt x="511759" y="0"/>
                </a:moveTo>
                <a:lnTo>
                  <a:pt x="0" y="0"/>
                </a:lnTo>
                <a:lnTo>
                  <a:pt x="0" y="142989"/>
                </a:lnTo>
                <a:lnTo>
                  <a:pt x="511759" y="142989"/>
                </a:lnTo>
                <a:lnTo>
                  <a:pt x="511759" y="0"/>
                </a:lnTo>
                <a:close/>
              </a:path>
            </a:pathLst>
          </a:custGeom>
          <a:solidFill>
            <a:srgbClr val="29A1DB"/>
          </a:solidFill>
        </p:spPr>
        <p:txBody>
          <a:bodyPr wrap="square" lIns="0" tIns="0" rIns="0" bIns="0" rtlCol="0"/>
          <a:lstStyle>
            <a:defPPr>
              <a:defRPr kern="0"/>
            </a:def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901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44" r:id="rId2"/>
    <p:sldLayoutId id="2147483738" r:id="rId3"/>
    <p:sldLayoutId id="214748373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rgbClr val="77BC1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0.png"/><Relationship Id="rId18" Type="http://schemas.openxmlformats.org/officeDocument/2006/relationships/hyperlink" Target="https://www.hirose.com/en/product/series/SMA(R)" TargetMode="External"/><Relationship Id="rId26" Type="http://schemas.openxmlformats.org/officeDocument/2006/relationships/hyperlink" Target="https://www.hirose.com/en/product/series/DF57" TargetMode="External"/><Relationship Id="rId39" Type="http://schemas.openxmlformats.org/officeDocument/2006/relationships/hyperlink" Target="https://hirose.icata.net/iportal/CatalogViewInterfaceStartUpAction.do?method=startUp&amp;mode=PAGE&amp;volumeID=HRE00001&amp;catalogId=2720110000&amp;pageGroupId=&amp;designID=HRED002&amp;catalogCategoryId=&amp;designConfirmFlg=" TargetMode="External"/><Relationship Id="rId3" Type="http://schemas.openxmlformats.org/officeDocument/2006/relationships/image" Target="../media/image30.svg"/><Relationship Id="rId21" Type="http://schemas.openxmlformats.org/officeDocument/2006/relationships/image" Target="../media/image35.png"/><Relationship Id="rId34" Type="http://schemas.openxmlformats.org/officeDocument/2006/relationships/image" Target="../media/image46.png"/><Relationship Id="rId12" Type="http://schemas.openxmlformats.org/officeDocument/2006/relationships/customXml" Target="../ink/ink2.xml"/><Relationship Id="rId17" Type="http://schemas.openxmlformats.org/officeDocument/2006/relationships/image" Target="../media/image33.png"/><Relationship Id="rId25" Type="http://schemas.openxmlformats.org/officeDocument/2006/relationships/image" Target="../media/image39.png"/><Relationship Id="rId33" Type="http://schemas.openxmlformats.org/officeDocument/2006/relationships/image" Target="../media/image45.png"/><Relationship Id="rId38" Type="http://schemas.openxmlformats.org/officeDocument/2006/relationships/hyperlink" Target="https://samplecomponents.com/scripts/samplecenter.dll?hirose" TargetMode="External"/><Relationship Id="rId2" Type="http://schemas.openxmlformats.org/officeDocument/2006/relationships/image" Target="../media/image29.png"/><Relationship Id="rId16" Type="http://schemas.openxmlformats.org/officeDocument/2006/relationships/hyperlink" Target="https://www.hirose.com/en/product/series/U.FL-K" TargetMode="External"/><Relationship Id="rId20" Type="http://schemas.openxmlformats.org/officeDocument/2006/relationships/hyperlink" Target="https://www.hirose.com/en/product/series/BK35" TargetMode="External"/><Relationship Id="rId29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customXml" Target="../ink/ink1.xml"/><Relationship Id="rId11" Type="http://schemas.openxmlformats.org/officeDocument/2006/relationships/image" Target="../media/image560.png"/><Relationship Id="rId24" Type="http://schemas.openxmlformats.org/officeDocument/2006/relationships/image" Target="../media/image38.png"/><Relationship Id="rId32" Type="http://schemas.openxmlformats.org/officeDocument/2006/relationships/image" Target="../media/image44.png"/><Relationship Id="rId37" Type="http://schemas.openxmlformats.org/officeDocument/2006/relationships/image" Target="../media/image49.svg"/><Relationship Id="rId40" Type="http://schemas.openxmlformats.org/officeDocument/2006/relationships/image" Target="../media/image50.png"/><Relationship Id="rId5" Type="http://schemas.openxmlformats.org/officeDocument/2006/relationships/image" Target="../media/image32.svg"/><Relationship Id="rId15" Type="http://schemas.openxmlformats.org/officeDocument/2006/relationships/image" Target="../media/image580.png"/><Relationship Id="rId23" Type="http://schemas.openxmlformats.org/officeDocument/2006/relationships/image" Target="../media/image37.png"/><Relationship Id="rId28" Type="http://schemas.openxmlformats.org/officeDocument/2006/relationships/hyperlink" Target="https://www.hirose.com/en/product/series/KW30" TargetMode="External"/><Relationship Id="rId36" Type="http://schemas.openxmlformats.org/officeDocument/2006/relationships/image" Target="../media/image48.png"/><Relationship Id="rId19" Type="http://schemas.openxmlformats.org/officeDocument/2006/relationships/image" Target="../media/image34.png"/><Relationship Id="rId31" Type="http://schemas.openxmlformats.org/officeDocument/2006/relationships/image" Target="../media/image43.png"/><Relationship Id="rId4" Type="http://schemas.openxmlformats.org/officeDocument/2006/relationships/image" Target="../media/image31.png"/><Relationship Id="rId14" Type="http://schemas.openxmlformats.org/officeDocument/2006/relationships/customXml" Target="../ink/ink3.xml"/><Relationship Id="rId22" Type="http://schemas.openxmlformats.org/officeDocument/2006/relationships/image" Target="../media/image36.png"/><Relationship Id="rId27" Type="http://schemas.openxmlformats.org/officeDocument/2006/relationships/image" Target="../media/image40.png"/><Relationship Id="rId30" Type="http://schemas.openxmlformats.org/officeDocument/2006/relationships/image" Target="../media/image42.png"/><Relationship Id="rId35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nip Diagonal Corner Rectangle 27">
            <a:extLst>
              <a:ext uri="{FF2B5EF4-FFF2-40B4-BE49-F238E27FC236}">
                <a16:creationId xmlns:a16="http://schemas.microsoft.com/office/drawing/2014/main" id="{9534E6BC-5190-BB27-B068-89F74AA7635D}"/>
              </a:ext>
            </a:extLst>
          </p:cNvPr>
          <p:cNvSpPr/>
          <p:nvPr/>
        </p:nvSpPr>
        <p:spPr>
          <a:xfrm>
            <a:off x="10772403" y="969509"/>
            <a:ext cx="1226351" cy="437610"/>
          </a:xfrm>
          <a:prstGeom prst="snip2DiagRect">
            <a:avLst/>
          </a:prstGeom>
          <a:solidFill>
            <a:srgbClr val="77BC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77BC1F"/>
              </a:highlight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986E01-E3B9-09C9-B9BF-F99512967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830" y="371856"/>
            <a:ext cx="9060707" cy="432811"/>
          </a:xfr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9144" rIns="0" bIns="0" anchor="t">
            <a:noAutofit/>
          </a:bodyPr>
          <a:lstStyle/>
          <a:p>
            <a:r>
              <a:rPr kumimoji="0" lang="en-US" dirty="0"/>
              <a:t>Hirose Connectors – GNSS Antenna/Receiver</a:t>
            </a:r>
          </a:p>
        </p:txBody>
      </p:sp>
      <p:pic>
        <p:nvPicPr>
          <p:cNvPr id="4" name="Graphic 3" descr="Tablet with solid fill">
            <a:extLst>
              <a:ext uri="{FF2B5EF4-FFF2-40B4-BE49-F238E27FC236}">
                <a16:creationId xmlns:a16="http://schemas.microsoft.com/office/drawing/2014/main" id="{93BC2135-1A32-9AF0-FF5D-5EDA683CF1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06327" y="2970817"/>
            <a:ext cx="813792" cy="813792"/>
          </a:xfrm>
          <a:prstGeom prst="rect">
            <a:avLst/>
          </a:prstGeom>
          <a:effectLst/>
        </p:spPr>
      </p:pic>
      <p:pic>
        <p:nvPicPr>
          <p:cNvPr id="5" name="Graphic 4" descr="Tractor with solid fill">
            <a:extLst>
              <a:ext uri="{FF2B5EF4-FFF2-40B4-BE49-F238E27FC236}">
                <a16:creationId xmlns:a16="http://schemas.microsoft.com/office/drawing/2014/main" id="{F47C8F0D-A582-BFC6-BFAD-1AE81531BA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85414" y="2902272"/>
            <a:ext cx="1894880" cy="1894880"/>
          </a:xfrm>
          <a:prstGeom prst="rect">
            <a:avLst/>
          </a:prstGeom>
          <a:effectLst/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7B2062A-DFD7-CD96-7347-3E14B780F06F}"/>
              </a:ext>
            </a:extLst>
          </p:cNvPr>
          <p:cNvGrpSpPr/>
          <p:nvPr/>
        </p:nvGrpSpPr>
        <p:grpSpPr>
          <a:xfrm>
            <a:off x="9401842" y="2376698"/>
            <a:ext cx="1603113" cy="1325120"/>
            <a:chOff x="1253769" y="2108513"/>
            <a:chExt cx="1603113" cy="1325120"/>
          </a:xfrm>
          <a:effectLst/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BBD4720-8452-976D-DDA7-C406302E44D7}"/>
                    </a:ext>
                  </a:extLst>
                </p14:cNvPr>
                <p14:cNvContentPartPr/>
                <p14:nvPr/>
              </p14:nvContentPartPr>
              <p14:xfrm>
                <a:off x="1253769" y="2108513"/>
                <a:ext cx="199080" cy="7470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BBD4720-8452-976D-DDA7-C406302E44D7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247649" y="2102393"/>
                  <a:ext cx="211320" cy="75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8F4732F8-0D96-5667-AF24-5E96AA4F72F2}"/>
                    </a:ext>
                  </a:extLst>
                </p14:cNvPr>
                <p14:cNvContentPartPr/>
                <p14:nvPr/>
              </p14:nvContentPartPr>
              <p14:xfrm>
                <a:off x="1683609" y="2118953"/>
                <a:ext cx="27360" cy="36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8F4732F8-0D96-5667-AF24-5E96AA4F72F2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677489" y="2112833"/>
                  <a:ext cx="39600" cy="1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56A5DCA4-3739-92D9-2413-CD87CDDA85EA}"/>
                    </a:ext>
                  </a:extLst>
                </p14:cNvPr>
                <p14:cNvContentPartPr/>
                <p14:nvPr/>
              </p14:nvContentPartPr>
              <p14:xfrm>
                <a:off x="1689402" y="2116393"/>
                <a:ext cx="1167480" cy="13172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56A5DCA4-3739-92D9-2413-CD87CDDA85E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683282" y="2110273"/>
                  <a:ext cx="1179720" cy="132948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8F66C79F-E107-9DB2-4D52-D0684DE3686C}"/>
              </a:ext>
            </a:extLst>
          </p:cNvPr>
          <p:cNvSpPr txBox="1"/>
          <p:nvPr/>
        </p:nvSpPr>
        <p:spPr>
          <a:xfrm>
            <a:off x="10382062" y="2557871"/>
            <a:ext cx="1361270" cy="2616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wer line (12po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7AD6E1-B2D4-C5FE-C0B1-D32F3EF85846}"/>
              </a:ext>
            </a:extLst>
          </p:cNvPr>
          <p:cNvSpPr txBox="1"/>
          <p:nvPr/>
        </p:nvSpPr>
        <p:spPr>
          <a:xfrm>
            <a:off x="8465019" y="2628969"/>
            <a:ext cx="891591" cy="76944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ax ca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luetoo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Fi</a:t>
            </a:r>
            <a:endParaRPr kumimoji="1" lang="en-US" sz="110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306393-B718-EF20-F7E3-04DC211484F1}"/>
              </a:ext>
            </a:extLst>
          </p:cNvPr>
          <p:cNvSpPr txBox="1"/>
          <p:nvPr/>
        </p:nvSpPr>
        <p:spPr>
          <a:xfrm>
            <a:off x="9153600" y="3619586"/>
            <a:ext cx="1040670" cy="2616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rol Pan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7EE6EF-BEA6-23AB-74CE-34D118AAB884}"/>
              </a:ext>
            </a:extLst>
          </p:cNvPr>
          <p:cNvSpPr txBox="1"/>
          <p:nvPr/>
        </p:nvSpPr>
        <p:spPr>
          <a:xfrm>
            <a:off x="10153154" y="1544436"/>
            <a:ext cx="1745991" cy="43088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rnal Anten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mbedded PCB antenna</a:t>
            </a:r>
          </a:p>
        </p:txBody>
      </p:sp>
      <p:sp>
        <p:nvSpPr>
          <p:cNvPr id="24" name="テキスト ボックス 2">
            <a:extLst>
              <a:ext uri="{FF2B5EF4-FFF2-40B4-BE49-F238E27FC236}">
                <a16:creationId xmlns:a16="http://schemas.microsoft.com/office/drawing/2014/main" id="{39B87975-5477-DFD8-E2AD-3A137DBF96B3}"/>
              </a:ext>
            </a:extLst>
          </p:cNvPr>
          <p:cNvSpPr txBox="1"/>
          <p:nvPr/>
        </p:nvSpPr>
        <p:spPr>
          <a:xfrm>
            <a:off x="288473" y="1072708"/>
            <a:ext cx="7904552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34" charset="-128"/>
                <a:cs typeface="Arial" panose="020B0604020202020204" pitchFamily="34" charset="0"/>
              </a:rPr>
              <a:t>1. Main board to Antenna module                                                                                                                                             </a:t>
            </a:r>
          </a:p>
        </p:txBody>
      </p:sp>
      <p:sp>
        <p:nvSpPr>
          <p:cNvPr id="26" name="テキスト ボックス 2">
            <a:extLst>
              <a:ext uri="{FF2B5EF4-FFF2-40B4-BE49-F238E27FC236}">
                <a16:creationId xmlns:a16="http://schemas.microsoft.com/office/drawing/2014/main" id="{471A52BE-9B58-4DF0-C1CD-719A5027EB7B}"/>
              </a:ext>
            </a:extLst>
          </p:cNvPr>
          <p:cNvSpPr txBox="1"/>
          <p:nvPr/>
        </p:nvSpPr>
        <p:spPr>
          <a:xfrm>
            <a:off x="288472" y="2678554"/>
            <a:ext cx="11506420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34" charset="-128"/>
                <a:cs typeface="Arial" panose="020B0604020202020204" pitchFamily="34" charset="0"/>
              </a:rPr>
              <a:t>2. I/O (Power, Signal Transmission)                                                                                                                                         </a:t>
            </a:r>
          </a:p>
        </p:txBody>
      </p:sp>
      <p:pic>
        <p:nvPicPr>
          <p:cNvPr id="7" name="Picture 6" descr="A close-up of a blue square with a white wire&#10;&#10;AI-generated content may be incorrect.">
            <a:hlinkClick r:id="rId16"/>
            <a:extLst>
              <a:ext uri="{FF2B5EF4-FFF2-40B4-BE49-F238E27FC236}">
                <a16:creationId xmlns:a16="http://schemas.microsoft.com/office/drawing/2014/main" id="{13F050AB-B991-7411-5C9B-675790860779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6155" y="1536826"/>
            <a:ext cx="1425515" cy="914400"/>
          </a:xfrm>
          <a:prstGeom prst="rect">
            <a:avLst/>
          </a:prstGeom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17D6B3F-A07D-1897-665B-7CA92E85741B}"/>
              </a:ext>
            </a:extLst>
          </p:cNvPr>
          <p:cNvSpPr txBox="1"/>
          <p:nvPr/>
        </p:nvSpPr>
        <p:spPr>
          <a:xfrm>
            <a:off x="376000" y="1341908"/>
            <a:ext cx="1605824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ear Tactile Click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17B8F17-5426-2DF9-BCD1-33DC4CC068E6}"/>
              </a:ext>
            </a:extLst>
          </p:cNvPr>
          <p:cNvSpPr txBox="1"/>
          <p:nvPr/>
        </p:nvSpPr>
        <p:spPr>
          <a:xfrm>
            <a:off x="547970" y="2348880"/>
            <a:ext cx="1261885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.FL-K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GHz, Gold plating</a:t>
            </a:r>
          </a:p>
        </p:txBody>
      </p:sp>
      <p:pic>
        <p:nvPicPr>
          <p:cNvPr id="29" name="Picture 28" descr="A group of connectors and cables&#10;&#10;AI-generated content may be incorrect.">
            <a:hlinkClick r:id="rId18"/>
            <a:extLst>
              <a:ext uri="{FF2B5EF4-FFF2-40B4-BE49-F238E27FC236}">
                <a16:creationId xmlns:a16="http://schemas.microsoft.com/office/drawing/2014/main" id="{5F86E721-425F-CB4C-E129-411C3574B8D9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6970" y="1536826"/>
            <a:ext cx="1376979" cy="914400"/>
          </a:xfrm>
          <a:prstGeom prst="rect">
            <a:avLst/>
          </a:prstGeom>
          <a:effectLst/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6CDDFC1-347E-9D92-0710-58D69AF48FAE}"/>
              </a:ext>
            </a:extLst>
          </p:cNvPr>
          <p:cNvSpPr txBox="1"/>
          <p:nvPr/>
        </p:nvSpPr>
        <p:spPr>
          <a:xfrm>
            <a:off x="2194618" y="1341908"/>
            <a:ext cx="1461683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gh Frequenc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81B943-BA9E-F9C4-BA33-76BA5B09E774}"/>
              </a:ext>
            </a:extLst>
          </p:cNvPr>
          <p:cNvSpPr txBox="1"/>
          <p:nvPr/>
        </p:nvSpPr>
        <p:spPr>
          <a:xfrm>
            <a:off x="1912201" y="2348880"/>
            <a:ext cx="2026517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A(R)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6.5GHz, FL conversion adaptor</a:t>
            </a:r>
          </a:p>
        </p:txBody>
      </p:sp>
      <p:pic>
        <p:nvPicPr>
          <p:cNvPr id="33" name="Picture 32" descr="A close up of a green circuit board&#10;&#10;AI-generated content may be incorrect.">
            <a:hlinkClick r:id="rId20"/>
            <a:extLst>
              <a:ext uri="{FF2B5EF4-FFF2-40B4-BE49-F238E27FC236}">
                <a16:creationId xmlns:a16="http://schemas.microsoft.com/office/drawing/2014/main" id="{FB462F84-C7F0-D6F7-3A33-9A1951C74356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10657" y="1549018"/>
            <a:ext cx="1549578" cy="914400"/>
          </a:xfrm>
          <a:prstGeom prst="rect">
            <a:avLst/>
          </a:prstGeom>
          <a:effectLst/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E54F24A0-1B6E-37D9-94A8-7EDE530E793C}"/>
              </a:ext>
            </a:extLst>
          </p:cNvPr>
          <p:cNvSpPr txBox="1"/>
          <p:nvPr/>
        </p:nvSpPr>
        <p:spPr>
          <a:xfrm>
            <a:off x="5993040" y="1126465"/>
            <a:ext cx="1646348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hiel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5A/pin+0.3A/pi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F891FCC-5F56-279E-D9BA-93DB1F549E19}"/>
              </a:ext>
            </a:extLst>
          </p:cNvPr>
          <p:cNvSpPr txBox="1"/>
          <p:nvPr/>
        </p:nvSpPr>
        <p:spPr>
          <a:xfrm>
            <a:off x="6097908" y="2348880"/>
            <a:ext cx="1436612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K35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0.35mm, H=0.6mm</a:t>
            </a:r>
          </a:p>
        </p:txBody>
      </p:sp>
      <p:pic>
        <p:nvPicPr>
          <p:cNvPr id="37" name="Picture 36" descr="A close-up of a connector&#10;&#10;AI-generated content may be incorrect.">
            <a:extLst>
              <a:ext uri="{FF2B5EF4-FFF2-40B4-BE49-F238E27FC236}">
                <a16:creationId xmlns:a16="http://schemas.microsoft.com/office/drawing/2014/main" id="{734DEE3B-70F3-8E66-B715-1113EC748359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2739" y="1536826"/>
            <a:ext cx="1336904" cy="914400"/>
          </a:xfrm>
          <a:prstGeom prst="rect">
            <a:avLst/>
          </a:prstGeom>
          <a:effectLst/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63F456E-0379-F26F-3C05-E356C9B539CB}"/>
              </a:ext>
            </a:extLst>
          </p:cNvPr>
          <p:cNvSpPr txBox="1"/>
          <p:nvPr/>
        </p:nvSpPr>
        <p:spPr>
          <a:xfrm>
            <a:off x="4464103" y="1341908"/>
            <a:ext cx="974177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F switch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959CB3-1E0C-7564-1DF9-A6F558572A20}"/>
              </a:ext>
            </a:extLst>
          </p:cNvPr>
          <p:cNvSpPr txBox="1"/>
          <p:nvPr/>
        </p:nvSpPr>
        <p:spPr>
          <a:xfrm>
            <a:off x="4341088" y="2348880"/>
            <a:ext cx="1220207" cy="2616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S-156C Seri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0FBE16-F1F8-8BF5-4AC4-D944F47E5075}"/>
              </a:ext>
            </a:extLst>
          </p:cNvPr>
          <p:cNvSpPr txBox="1"/>
          <p:nvPr/>
        </p:nvSpPr>
        <p:spPr>
          <a:xfrm>
            <a:off x="866968" y="2963247"/>
            <a:ext cx="623889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P67*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19650C-75F3-1B6D-4BAF-1E07B018F8FB}"/>
              </a:ext>
            </a:extLst>
          </p:cNvPr>
          <p:cNvSpPr txBox="1"/>
          <p:nvPr/>
        </p:nvSpPr>
        <p:spPr>
          <a:xfrm>
            <a:off x="459805" y="4125626"/>
            <a:ext cx="1438215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F62WZ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2.2mm, AWG20-26</a:t>
            </a:r>
          </a:p>
        </p:txBody>
      </p:sp>
      <p:pic>
        <p:nvPicPr>
          <p:cNvPr id="45" name="Picture 44" descr="Several orange wires with connectors&#10;&#10;AI-generated content may be incorrect.">
            <a:extLst>
              <a:ext uri="{FF2B5EF4-FFF2-40B4-BE49-F238E27FC236}">
                <a16:creationId xmlns:a16="http://schemas.microsoft.com/office/drawing/2014/main" id="{F690D8B8-EADE-94EF-2140-826E26E882FA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925" y="3224295"/>
            <a:ext cx="1151974" cy="914400"/>
          </a:xfrm>
          <a:prstGeom prst="rect">
            <a:avLst/>
          </a:prstGeom>
          <a:effectLst/>
        </p:spPr>
      </p:pic>
      <p:pic>
        <p:nvPicPr>
          <p:cNvPr id="47" name="Picture 46" descr="A close-up of a cable&#10;&#10;AI-generated content may be incorrect.">
            <a:extLst>
              <a:ext uri="{FF2B5EF4-FFF2-40B4-BE49-F238E27FC236}">
                <a16:creationId xmlns:a16="http://schemas.microsoft.com/office/drawing/2014/main" id="{A8CB885B-F063-720C-98AC-14A9A5ACC233}"/>
              </a:ext>
            </a:extLst>
          </p:cNvPr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787" y="3224295"/>
            <a:ext cx="1372032" cy="914400"/>
          </a:xfrm>
          <a:prstGeom prst="rect">
            <a:avLst/>
          </a:prstGeom>
          <a:effectLst/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1D6A5B0F-2385-4C01-F880-34C0DF9C6FF2}"/>
              </a:ext>
            </a:extLst>
          </p:cNvPr>
          <p:cNvSpPr txBox="1"/>
          <p:nvPr/>
        </p:nvSpPr>
        <p:spPr>
          <a:xfrm>
            <a:off x="2148227" y="2963247"/>
            <a:ext cx="1725152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all, Light weigh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45219E0-C914-A2A9-55EB-FE433E48313F}"/>
              </a:ext>
            </a:extLst>
          </p:cNvPr>
          <p:cNvSpPr txBox="1"/>
          <p:nvPr/>
        </p:nvSpPr>
        <p:spPr>
          <a:xfrm>
            <a:off x="2248415" y="4125626"/>
            <a:ext cx="1524777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R30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x.5A/pin, AWG26-30</a:t>
            </a:r>
          </a:p>
        </p:txBody>
      </p:sp>
      <p:pic>
        <p:nvPicPr>
          <p:cNvPr id="51" name="Picture 50" descr="A close-up of several plugs&#10;&#10;AI-generated content may be incorrect.">
            <a:extLst>
              <a:ext uri="{FF2B5EF4-FFF2-40B4-BE49-F238E27FC236}">
                <a16:creationId xmlns:a16="http://schemas.microsoft.com/office/drawing/2014/main" id="{B2DC9192-351D-FD49-4558-5BE4934443A2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5145" y="3224295"/>
            <a:ext cx="1274012" cy="914400"/>
          </a:xfrm>
          <a:prstGeom prst="rect">
            <a:avLst/>
          </a:prstGeom>
          <a:effectLst/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0F3C0A37-7FC8-94C9-2087-A4A35C816875}"/>
              </a:ext>
            </a:extLst>
          </p:cNvPr>
          <p:cNvSpPr txBox="1"/>
          <p:nvPr/>
        </p:nvSpPr>
        <p:spPr>
          <a:xfrm>
            <a:off x="4073304" y="2963247"/>
            <a:ext cx="1877695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bration Resistanc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1BC15C5-03AD-CB19-69C6-DA9DE6FB5094}"/>
              </a:ext>
            </a:extLst>
          </p:cNvPr>
          <p:cNvSpPr txBox="1"/>
          <p:nvPr/>
        </p:nvSpPr>
        <p:spPr>
          <a:xfrm>
            <a:off x="4249763" y="4125626"/>
            <a:ext cx="1524777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R34B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x.5A/pin, AWG20-25</a:t>
            </a:r>
          </a:p>
        </p:txBody>
      </p:sp>
      <p:sp>
        <p:nvSpPr>
          <p:cNvPr id="54" name="テキスト ボックス 2">
            <a:extLst>
              <a:ext uri="{FF2B5EF4-FFF2-40B4-BE49-F238E27FC236}">
                <a16:creationId xmlns:a16="http://schemas.microsoft.com/office/drawing/2014/main" id="{7E05AFB5-059C-23A1-D51B-AE89020FD965}"/>
              </a:ext>
            </a:extLst>
          </p:cNvPr>
          <p:cNvSpPr txBox="1"/>
          <p:nvPr/>
        </p:nvSpPr>
        <p:spPr>
          <a:xfrm>
            <a:off x="309988" y="4450718"/>
            <a:ext cx="11684072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34" charset="-128"/>
                <a:cs typeface="Arial" panose="020B0604020202020204" pitchFamily="34" charset="0"/>
              </a:rPr>
              <a:t>3. Internal connection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pic>
        <p:nvPicPr>
          <p:cNvPr id="56" name="Picture 55">
            <a:hlinkClick r:id="rId26"/>
            <a:extLst>
              <a:ext uri="{FF2B5EF4-FFF2-40B4-BE49-F238E27FC236}">
                <a16:creationId xmlns:a16="http://schemas.microsoft.com/office/drawing/2014/main" id="{E7E9A66C-4209-5AFE-D2AD-423828E4CE73}"/>
              </a:ext>
            </a:extLst>
          </p:cNvPr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423" y="4942994"/>
            <a:ext cx="1376979" cy="867731"/>
          </a:xfrm>
          <a:prstGeom prst="rect">
            <a:avLst/>
          </a:prstGeom>
          <a:effectLst/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C8DFFC9-DAA1-AAD2-AAF5-7AAE036D77A9}"/>
              </a:ext>
            </a:extLst>
          </p:cNvPr>
          <p:cNvSpPr txBox="1"/>
          <p:nvPr/>
        </p:nvSpPr>
        <p:spPr>
          <a:xfrm>
            <a:off x="477342" y="4690238"/>
            <a:ext cx="1403141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tical Ma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900BAFF-2611-2351-A52A-0ED5A90EC01E}"/>
              </a:ext>
            </a:extLst>
          </p:cNvPr>
          <p:cNvSpPr txBox="1"/>
          <p:nvPr/>
        </p:nvSpPr>
        <p:spPr>
          <a:xfrm>
            <a:off x="459805" y="5784556"/>
            <a:ext cx="1438215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F57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1.2mm, AWG26-34</a:t>
            </a:r>
          </a:p>
        </p:txBody>
      </p:sp>
      <p:pic>
        <p:nvPicPr>
          <p:cNvPr id="60" name="Picture 59" descr="A blue rectangular device with white wires connected to it&#10;&#10;AI-generated content may be incorrect.">
            <a:hlinkClick r:id="rId28"/>
            <a:extLst>
              <a:ext uri="{FF2B5EF4-FFF2-40B4-BE49-F238E27FC236}">
                <a16:creationId xmlns:a16="http://schemas.microsoft.com/office/drawing/2014/main" id="{30E8EDEC-E3DC-5FA4-8179-6E2BD1CBE1F6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22213" y="4980620"/>
            <a:ext cx="1175055" cy="859348"/>
          </a:xfrm>
          <a:prstGeom prst="rect">
            <a:avLst/>
          </a:prstGeom>
          <a:effectLst/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76380D6D-D29D-4290-52AB-40EE72A9E48D}"/>
              </a:ext>
            </a:extLst>
          </p:cNvPr>
          <p:cNvSpPr txBox="1"/>
          <p:nvPr/>
        </p:nvSpPr>
        <p:spPr>
          <a:xfrm>
            <a:off x="2096340" y="4690238"/>
            <a:ext cx="1877694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bration Resistanc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212BBA2-1740-132B-A044-F7AA04BE53E4}"/>
              </a:ext>
            </a:extLst>
          </p:cNvPr>
          <p:cNvSpPr txBox="1"/>
          <p:nvPr/>
        </p:nvSpPr>
        <p:spPr>
          <a:xfrm>
            <a:off x="2316080" y="5821132"/>
            <a:ext cx="1438215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W30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1.0mm, AWG28-32</a:t>
            </a:r>
          </a:p>
        </p:txBody>
      </p:sp>
      <p:pic>
        <p:nvPicPr>
          <p:cNvPr id="64" name="Picture 63" descr="A close-up of a computer connector&#10;&#10;AI-generated content may be incorrect.">
            <a:extLst>
              <a:ext uri="{FF2B5EF4-FFF2-40B4-BE49-F238E27FC236}">
                <a16:creationId xmlns:a16="http://schemas.microsoft.com/office/drawing/2014/main" id="{971B7193-531C-46F4-A3A9-DAD8355BC794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03890" y="4925568"/>
            <a:ext cx="1638542" cy="981644"/>
          </a:xfrm>
          <a:prstGeom prst="rect">
            <a:avLst/>
          </a:prstGeom>
          <a:effectLst/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62BB3525-4F91-3359-F161-D19EDB587494}"/>
              </a:ext>
            </a:extLst>
          </p:cNvPr>
          <p:cNvSpPr txBox="1"/>
          <p:nvPr/>
        </p:nvSpPr>
        <p:spPr>
          <a:xfrm>
            <a:off x="4238317" y="4690238"/>
            <a:ext cx="1376980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de Variati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9EE511F-9A3A-7976-9E7B-0174D7533F3D}"/>
              </a:ext>
            </a:extLst>
          </p:cNvPr>
          <p:cNvSpPr txBox="1"/>
          <p:nvPr/>
        </p:nvSpPr>
        <p:spPr>
          <a:xfrm>
            <a:off x="4133961" y="5821132"/>
            <a:ext cx="1585692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F40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0.4mm, H=1.5-4.0mm</a:t>
            </a:r>
          </a:p>
        </p:txBody>
      </p:sp>
      <p:pic>
        <p:nvPicPr>
          <p:cNvPr id="68" name="Picture 67" descr="A green circuit board with gold and white connectors&#10;&#10;AI-generated content may be incorrect.">
            <a:extLst>
              <a:ext uri="{FF2B5EF4-FFF2-40B4-BE49-F238E27FC236}">
                <a16:creationId xmlns:a16="http://schemas.microsoft.com/office/drawing/2014/main" id="{5AE7A58B-A398-85A7-6533-F32C83FFB130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73379" y="4956236"/>
            <a:ext cx="1436903" cy="914400"/>
          </a:xfrm>
          <a:prstGeom prst="rect">
            <a:avLst/>
          </a:prstGeom>
          <a:effectLst/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284976CB-C9D7-8EF3-A909-988AED59DD47}"/>
              </a:ext>
            </a:extLst>
          </p:cNvPr>
          <p:cNvSpPr txBox="1"/>
          <p:nvPr/>
        </p:nvSpPr>
        <p:spPr>
          <a:xfrm>
            <a:off x="6152108" y="4690238"/>
            <a:ext cx="1376980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de Varia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4743AF-04D6-FAE1-763F-66BC937701A1}"/>
              </a:ext>
            </a:extLst>
          </p:cNvPr>
          <p:cNvSpPr txBox="1"/>
          <p:nvPr/>
        </p:nvSpPr>
        <p:spPr>
          <a:xfrm>
            <a:off x="6047752" y="5821132"/>
            <a:ext cx="1585692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F17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0.5mm, H=4.0-8.0mm</a:t>
            </a:r>
          </a:p>
        </p:txBody>
      </p:sp>
      <p:pic>
        <p:nvPicPr>
          <p:cNvPr id="72" name="Picture 71" descr="A close-up of several usb cables&#10;&#10;AI-generated content may be incorrect.">
            <a:extLst>
              <a:ext uri="{FF2B5EF4-FFF2-40B4-BE49-F238E27FC236}">
                <a16:creationId xmlns:a16="http://schemas.microsoft.com/office/drawing/2014/main" id="{D2EF31F6-B411-91E7-148B-D6E2168857D7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7799" y="3224295"/>
            <a:ext cx="1152447" cy="914400"/>
          </a:xfrm>
          <a:prstGeom prst="rect">
            <a:avLst/>
          </a:prstGeom>
          <a:effectLst/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21B6C44C-8C27-7859-E7F5-7A9064C34732}"/>
              </a:ext>
            </a:extLst>
          </p:cNvPr>
          <p:cNvSpPr txBox="1"/>
          <p:nvPr/>
        </p:nvSpPr>
        <p:spPr>
          <a:xfrm>
            <a:off x="6421482" y="2963247"/>
            <a:ext cx="765081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bus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64283FA-70E6-8FE0-1857-7BB7C0FFE07B}"/>
              </a:ext>
            </a:extLst>
          </p:cNvPr>
          <p:cNvSpPr txBox="1"/>
          <p:nvPr/>
        </p:nvSpPr>
        <p:spPr>
          <a:xfrm>
            <a:off x="6134608" y="4125626"/>
            <a:ext cx="1338828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X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Gbps, Max.6A/pin</a:t>
            </a:r>
          </a:p>
        </p:txBody>
      </p:sp>
      <p:pic>
        <p:nvPicPr>
          <p:cNvPr id="76" name="Picture 75" descr="A couple of rectangular green and blue rectangular electronic devices&#10;&#10;AI-generated content may be incorrect.">
            <a:extLst>
              <a:ext uri="{FF2B5EF4-FFF2-40B4-BE49-F238E27FC236}">
                <a16:creationId xmlns:a16="http://schemas.microsoft.com/office/drawing/2014/main" id="{92349D2B-9376-047D-8B5B-8D8D5D0EF85D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65744" y="4956236"/>
            <a:ext cx="1593447" cy="914400"/>
          </a:xfrm>
          <a:prstGeom prst="rect">
            <a:avLst/>
          </a:prstGeom>
          <a:effectLst/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DD813BEA-3D6C-0D20-D581-9ABB7D1D5C0D}"/>
              </a:ext>
            </a:extLst>
          </p:cNvPr>
          <p:cNvSpPr txBox="1"/>
          <p:nvPr/>
        </p:nvSpPr>
        <p:spPr>
          <a:xfrm>
            <a:off x="8310874" y="4690238"/>
            <a:ext cx="1103187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gh spee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14FD11F-E8AF-D189-0904-403228CB29CC}"/>
              </a:ext>
            </a:extLst>
          </p:cNvPr>
          <p:cNvSpPr txBox="1"/>
          <p:nvPr/>
        </p:nvSpPr>
        <p:spPr>
          <a:xfrm>
            <a:off x="8055997" y="5821132"/>
            <a:ext cx="1612942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H55/FH55M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0.4, 0.5mm, H=1.5mm</a:t>
            </a:r>
          </a:p>
        </p:txBody>
      </p:sp>
      <p:pic>
        <p:nvPicPr>
          <p:cNvPr id="80" name="Picture 79" descr="A blue card with a black background&#10;&#10;AI-generated content may be incorrect.">
            <a:extLst>
              <a:ext uri="{FF2B5EF4-FFF2-40B4-BE49-F238E27FC236}">
                <a16:creationId xmlns:a16="http://schemas.microsoft.com/office/drawing/2014/main" id="{9E0481A0-D46D-3FF1-773F-5123A22DFA2F}"/>
              </a:ext>
            </a:extLst>
          </p:cNvPr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42048" y="4944044"/>
            <a:ext cx="1747616" cy="914400"/>
          </a:xfrm>
          <a:prstGeom prst="rect">
            <a:avLst/>
          </a:prstGeom>
          <a:effectLst/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7A4BD97B-9B99-CE1F-F6EA-3A1AF3DEB2D3}"/>
              </a:ext>
            </a:extLst>
          </p:cNvPr>
          <p:cNvSpPr txBox="1"/>
          <p:nvPr/>
        </p:nvSpPr>
        <p:spPr>
          <a:xfrm>
            <a:off x="9912424" y="4690238"/>
            <a:ext cx="1965796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strike="noStrike" kern="1200" cap="none" spc="0" normalizeH="0" baseline="0" noProof="0" dirty="0">
                <a:ln>
                  <a:noFill/>
                </a:ln>
                <a:solidFill>
                  <a:srgbClr val="004098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p &amp; Bottom Contac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35375A6-980D-A9DD-D340-E1D73BB161A5}"/>
              </a:ext>
            </a:extLst>
          </p:cNvPr>
          <p:cNvSpPr txBox="1"/>
          <p:nvPr/>
        </p:nvSpPr>
        <p:spPr>
          <a:xfrm>
            <a:off x="10250755" y="5821132"/>
            <a:ext cx="1289135" cy="41549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H34 Ser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=0.5mm, Back flip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7C421BDF-BCBC-2329-42A2-EC4F0070104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914D422-9B1A-2CD0-ED4E-47FA2CFDD35C}"/>
              </a:ext>
            </a:extLst>
          </p:cNvPr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76970" y="1155554"/>
            <a:ext cx="1351836" cy="1523011"/>
          </a:xfrm>
          <a:prstGeom prst="rect">
            <a:avLst/>
          </a:prstGeom>
          <a:effectLst/>
        </p:spPr>
      </p:pic>
      <p:sp>
        <p:nvSpPr>
          <p:cNvPr id="16" name="Cylinder 15">
            <a:extLst>
              <a:ext uri="{FF2B5EF4-FFF2-40B4-BE49-F238E27FC236}">
                <a16:creationId xmlns:a16="http://schemas.microsoft.com/office/drawing/2014/main" id="{503FD5F5-9121-8840-5B23-A96DBCC5AADB}"/>
              </a:ext>
            </a:extLst>
          </p:cNvPr>
          <p:cNvSpPr/>
          <p:nvPr/>
        </p:nvSpPr>
        <p:spPr>
          <a:xfrm>
            <a:off x="9376339" y="1773702"/>
            <a:ext cx="639651" cy="78125"/>
          </a:xfrm>
          <a:prstGeom prst="can">
            <a:avLst>
              <a:gd name="adj" fmla="val 50000"/>
            </a:avLst>
          </a:prstGeom>
          <a:effectLst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phic 10" descr="Satellite with solid fill">
            <a:extLst>
              <a:ext uri="{FF2B5EF4-FFF2-40B4-BE49-F238E27FC236}">
                <a16:creationId xmlns:a16="http://schemas.microsoft.com/office/drawing/2014/main" id="{19AEACF4-A53D-0D34-C67E-E0249AD3ABC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 flipH="1">
            <a:off x="8384193" y="862942"/>
            <a:ext cx="540060" cy="540060"/>
          </a:xfrm>
          <a:prstGeom prst="rect">
            <a:avLst/>
          </a:prstGeom>
          <a:effectLst/>
        </p:spPr>
      </p:pic>
      <p:sp>
        <p:nvSpPr>
          <p:cNvPr id="3" name="Rectangle 2">
            <a:hlinkClick r:id="rId38"/>
            <a:extLst>
              <a:ext uri="{FF2B5EF4-FFF2-40B4-BE49-F238E27FC236}">
                <a16:creationId xmlns:a16="http://schemas.microsoft.com/office/drawing/2014/main" id="{55DDCB8A-6F16-FD16-B6F0-07710D003F77}"/>
              </a:ext>
            </a:extLst>
          </p:cNvPr>
          <p:cNvSpPr/>
          <p:nvPr/>
        </p:nvSpPr>
        <p:spPr>
          <a:xfrm>
            <a:off x="10725364" y="833914"/>
            <a:ext cx="1326103" cy="69016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Click here to request a sample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游ゴシック" panose="020B0400000000000000" pitchFamily="34" charset="-128"/>
              <a:cs typeface="+mn-cs"/>
            </a:endParaRPr>
          </a:p>
        </p:txBody>
      </p:sp>
      <p:pic>
        <p:nvPicPr>
          <p:cNvPr id="25" name="Picture 24">
            <a:hlinkClick r:id="rId39"/>
            <a:extLst>
              <a:ext uri="{FF2B5EF4-FFF2-40B4-BE49-F238E27FC236}">
                <a16:creationId xmlns:a16="http://schemas.microsoft.com/office/drawing/2014/main" id="{085AB7E3-9920-CF86-B45A-1D4FF77833E8}"/>
              </a:ext>
            </a:extLst>
          </p:cNvPr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5182" y="87265"/>
            <a:ext cx="1135363" cy="80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714223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1029">
            <a:extLst>
              <a:ext uri="{FF2B5EF4-FFF2-40B4-BE49-F238E27FC236}">
                <a16:creationId xmlns:a16="http://schemas.microsoft.com/office/drawing/2014/main" id="{16F7D3FA-4D46-333A-E891-709C04A21C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51943" y="6064017"/>
            <a:ext cx="11824372" cy="6011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play Boar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404D32-13D1-8174-5A6C-90D9C93D6DDE}"/>
              </a:ext>
            </a:extLst>
          </p:cNvPr>
          <p:cNvSpPr/>
          <p:nvPr/>
        </p:nvSpPr>
        <p:spPr>
          <a:xfrm>
            <a:off x="3386109" y="2943635"/>
            <a:ext cx="4006235" cy="294521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0BB708D-232A-0310-47FB-D88145990B74}"/>
              </a:ext>
            </a:extLst>
          </p:cNvPr>
          <p:cNvCxnSpPr>
            <a:cxnSpLocks/>
          </p:cNvCxnSpPr>
          <p:nvPr/>
        </p:nvCxnSpPr>
        <p:spPr>
          <a:xfrm flipH="1">
            <a:off x="6353172" y="4477964"/>
            <a:ext cx="581973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F828B89-E0E8-FCFF-1460-6BDF5B416C33}"/>
              </a:ext>
            </a:extLst>
          </p:cNvPr>
          <p:cNvCxnSpPr>
            <a:stCxn id="27" idx="1"/>
            <a:endCxn id="11" idx="3"/>
          </p:cNvCxnSpPr>
          <p:nvPr/>
        </p:nvCxnSpPr>
        <p:spPr>
          <a:xfrm flipH="1">
            <a:off x="4074185" y="4477964"/>
            <a:ext cx="7452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5B7E2A3-C7F0-15B9-11C4-5B41202A0668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4729350" y="4477964"/>
            <a:ext cx="15417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F339FC5-CE7B-407E-DB02-154A1AC0CC1F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5464172" y="4477964"/>
            <a:ext cx="30835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F84CD171-4F65-D6C8-3EFF-4F2E075FC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215" y="360384"/>
            <a:ext cx="7606112" cy="610638"/>
          </a:xfrm>
        </p:spPr>
        <p:txBody>
          <a:bodyPr/>
          <a:lstStyle/>
          <a:p>
            <a:r>
              <a:rPr lang="en-US" dirty="0"/>
              <a:t>GNSS Antenna/Receiv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8687FA-84AD-3EB4-C95F-8B4193C1F276}"/>
              </a:ext>
            </a:extLst>
          </p:cNvPr>
          <p:cNvSpPr>
            <a:spLocks noChangeAspect="1"/>
          </p:cNvSpPr>
          <p:nvPr/>
        </p:nvSpPr>
        <p:spPr>
          <a:xfrm>
            <a:off x="3493541" y="4187642"/>
            <a:ext cx="580644" cy="5806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enn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u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73F13A-48C1-5AA1-1F84-B4B61695744D}"/>
              </a:ext>
            </a:extLst>
          </p:cNvPr>
          <p:cNvSpPr>
            <a:spLocks noChangeAspect="1"/>
          </p:cNvSpPr>
          <p:nvPr/>
        </p:nvSpPr>
        <p:spPr>
          <a:xfrm>
            <a:off x="5772528" y="4187642"/>
            <a:ext cx="580644" cy="5806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cei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u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621650-2F75-2C14-6EB6-9E453BC70D02}"/>
              </a:ext>
            </a:extLst>
          </p:cNvPr>
          <p:cNvSpPr>
            <a:spLocks noChangeAspect="1"/>
          </p:cNvSpPr>
          <p:nvPr/>
        </p:nvSpPr>
        <p:spPr>
          <a:xfrm>
            <a:off x="4883528" y="4187642"/>
            <a:ext cx="580644" cy="5806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CF3E41-C48C-4826-C86D-AEC00C65EE3A}"/>
              </a:ext>
            </a:extLst>
          </p:cNvPr>
          <p:cNvSpPr/>
          <p:nvPr/>
        </p:nvSpPr>
        <p:spPr>
          <a:xfrm>
            <a:off x="6935145" y="3078905"/>
            <a:ext cx="457200" cy="4572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S2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fa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873B85-D537-B226-9D51-AC8CFA060FE2}"/>
              </a:ext>
            </a:extLst>
          </p:cNvPr>
          <p:cNvSpPr/>
          <p:nvPr/>
        </p:nvSpPr>
        <p:spPr>
          <a:xfrm>
            <a:off x="6935145" y="3639245"/>
            <a:ext cx="457200" cy="4572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NB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fac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4EFD47-E4F2-BACE-9F88-8FCEEB33AD70}"/>
              </a:ext>
            </a:extLst>
          </p:cNvPr>
          <p:cNvSpPr/>
          <p:nvPr/>
        </p:nvSpPr>
        <p:spPr>
          <a:xfrm>
            <a:off x="6935145" y="4199585"/>
            <a:ext cx="457200" cy="4572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ME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183/200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111CCD-C843-5175-D992-D42566F0ACAE}"/>
              </a:ext>
            </a:extLst>
          </p:cNvPr>
          <p:cNvSpPr/>
          <p:nvPr/>
        </p:nvSpPr>
        <p:spPr>
          <a:xfrm>
            <a:off x="6935145" y="4759925"/>
            <a:ext cx="457200" cy="4572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B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90F744-FAAE-A740-1DF5-94CEB1E811CB}"/>
              </a:ext>
            </a:extLst>
          </p:cNvPr>
          <p:cNvSpPr/>
          <p:nvPr/>
        </p:nvSpPr>
        <p:spPr>
          <a:xfrm>
            <a:off x="6935145" y="5320265"/>
            <a:ext cx="457200" cy="4572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therne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D6B8027-B519-7F9E-D4C0-9493CAD6E0D3}"/>
              </a:ext>
            </a:extLst>
          </p:cNvPr>
          <p:cNvSpPr/>
          <p:nvPr/>
        </p:nvSpPr>
        <p:spPr>
          <a:xfrm>
            <a:off x="8946830" y="5212568"/>
            <a:ext cx="1952591" cy="123206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play Boar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C1C2F5-CD95-7AE3-8EFF-E1CF5CF511E0}"/>
              </a:ext>
            </a:extLst>
          </p:cNvPr>
          <p:cNvCxnSpPr>
            <a:cxnSpLocks/>
          </p:cNvCxnSpPr>
          <p:nvPr/>
        </p:nvCxnSpPr>
        <p:spPr>
          <a:xfrm flipV="1">
            <a:off x="7392350" y="5828602"/>
            <a:ext cx="1554480" cy="119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E9DEBE2-3D42-2DDA-DB08-A25CEF231069}"/>
              </a:ext>
            </a:extLst>
          </p:cNvPr>
          <p:cNvSpPr txBox="1"/>
          <p:nvPr/>
        </p:nvSpPr>
        <p:spPr>
          <a:xfrm>
            <a:off x="3308357" y="1530562"/>
            <a:ext cx="90986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.FL(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.FL-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K3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B939F26-E43A-5072-5992-22ACC73DCF44}"/>
              </a:ext>
            </a:extLst>
          </p:cNvPr>
          <p:cNvSpPr txBox="1"/>
          <p:nvPr/>
        </p:nvSpPr>
        <p:spPr>
          <a:xfrm>
            <a:off x="5800852" y="1509555"/>
            <a:ext cx="171713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ZE064W + ZE0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F62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R34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X, </a:t>
            </a:r>
            <a:r>
              <a:rPr lang="en-US" sz="1800" dirty="0">
                <a:solidFill>
                  <a:prstClr val="black"/>
                </a:solidFill>
                <a:latin typeface="Aptos" panose="02110004020202020204"/>
              </a:rPr>
              <a:t>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221F08-BDB4-BEEB-F3AF-B9AF1FE2DBEA}"/>
              </a:ext>
            </a:extLst>
          </p:cNvPr>
          <p:cNvSpPr txBox="1"/>
          <p:nvPr/>
        </p:nvSpPr>
        <p:spPr>
          <a:xfrm>
            <a:off x="3340631" y="3835326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alog sig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adio wave[Hz]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EC5F60D0-D4E0-217E-8DF7-D4EA6A39036F}"/>
              </a:ext>
            </a:extLst>
          </p:cNvPr>
          <p:cNvCxnSpPr>
            <a:stCxn id="10" idx="3"/>
          </p:cNvCxnSpPr>
          <p:nvPr/>
        </p:nvCxnSpPr>
        <p:spPr>
          <a:xfrm>
            <a:off x="3783863" y="3461011"/>
            <a:ext cx="655165" cy="726631"/>
          </a:xfrm>
          <a:prstGeom prst="bentConnector2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215A60D-5E79-7631-0FBF-5F247B736C99}"/>
              </a:ext>
            </a:extLst>
          </p:cNvPr>
          <p:cNvSpPr>
            <a:spLocks noChangeAspect="1"/>
          </p:cNvSpPr>
          <p:nvPr/>
        </p:nvSpPr>
        <p:spPr>
          <a:xfrm>
            <a:off x="3386101" y="3263049"/>
            <a:ext cx="397762" cy="39592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ter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tenna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FF225B6-9BB2-A3AB-AB66-71F1F3044CE1}"/>
              </a:ext>
            </a:extLst>
          </p:cNvPr>
          <p:cNvSpPr>
            <a:spLocks noChangeAspect="1"/>
          </p:cNvSpPr>
          <p:nvPr/>
        </p:nvSpPr>
        <p:spPr>
          <a:xfrm>
            <a:off x="4148706" y="4187642"/>
            <a:ext cx="580644" cy="5806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mplifi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C6B41EE-78EC-760E-1A55-341A07C828A8}"/>
              </a:ext>
            </a:extLst>
          </p:cNvPr>
          <p:cNvSpPr txBox="1"/>
          <p:nvPr/>
        </p:nvSpPr>
        <p:spPr>
          <a:xfrm>
            <a:off x="4664737" y="4795572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alog  to Digital</a:t>
            </a:r>
          </a:p>
        </p:txBody>
      </p:sp>
      <p:pic>
        <p:nvPicPr>
          <p:cNvPr id="41" name="Picture 40" descr="A close-up of a connector&#10;&#10;AI-generated content may be incorrect.">
            <a:extLst>
              <a:ext uri="{FF2B5EF4-FFF2-40B4-BE49-F238E27FC236}">
                <a16:creationId xmlns:a16="http://schemas.microsoft.com/office/drawing/2014/main" id="{BFA43ED2-BBD1-8EFD-C249-E85DD7DA20F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993855" y="430295"/>
            <a:ext cx="2100366" cy="1559870"/>
          </a:xfrm>
          <a:prstGeom prst="rect">
            <a:avLst/>
          </a:prstGeom>
        </p:spPr>
      </p:pic>
      <p:pic>
        <p:nvPicPr>
          <p:cNvPr id="43" name="Picture 42" descr="A group of orange wires&#10;&#10;AI-generated content may be incorrect.">
            <a:extLst>
              <a:ext uri="{FF2B5EF4-FFF2-40B4-BE49-F238E27FC236}">
                <a16:creationId xmlns:a16="http://schemas.microsoft.com/office/drawing/2014/main" id="{56BCAD9B-270A-C87F-F501-6345499D12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11785" y="1907237"/>
            <a:ext cx="2086044" cy="1423910"/>
          </a:xfrm>
          <a:prstGeom prst="rect">
            <a:avLst/>
          </a:prstGeom>
        </p:spPr>
      </p:pic>
      <p:pic>
        <p:nvPicPr>
          <p:cNvPr id="45" name="Picture 44" descr="A group of connectors and cables&#10;&#10;AI-generated content may be incorrect.">
            <a:extLst>
              <a:ext uri="{FF2B5EF4-FFF2-40B4-BE49-F238E27FC236}">
                <a16:creationId xmlns:a16="http://schemas.microsoft.com/office/drawing/2014/main" id="{E5C860DF-A260-065A-D35F-002E6227383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8850" y="3451746"/>
            <a:ext cx="2079027" cy="1372727"/>
          </a:xfrm>
          <a:prstGeom prst="rect">
            <a:avLst/>
          </a:prstGeom>
        </p:spPr>
      </p:pic>
      <p:pic>
        <p:nvPicPr>
          <p:cNvPr id="47" name="Picture 46" descr="A close-up of several usb cables&#10;&#10;AI-generated content may be incorrect.">
            <a:extLst>
              <a:ext uri="{FF2B5EF4-FFF2-40B4-BE49-F238E27FC236}">
                <a16:creationId xmlns:a16="http://schemas.microsoft.com/office/drawing/2014/main" id="{CBB14972-7080-50D8-479A-7B0D618390F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2040" y="3484324"/>
            <a:ext cx="1906608" cy="1536170"/>
          </a:xfrm>
          <a:prstGeom prst="rect">
            <a:avLst/>
          </a:prstGeom>
        </p:spPr>
      </p:pic>
      <p:pic>
        <p:nvPicPr>
          <p:cNvPr id="49" name="Picture 48" descr="A close-up of several plugs&#10;&#10;AI-generated content may be incorrect.">
            <a:extLst>
              <a:ext uri="{FF2B5EF4-FFF2-40B4-BE49-F238E27FC236}">
                <a16:creationId xmlns:a16="http://schemas.microsoft.com/office/drawing/2014/main" id="{8CBD11A8-456F-7459-F570-6063448E88E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64388" y="559398"/>
            <a:ext cx="2544619" cy="1422937"/>
          </a:xfrm>
          <a:prstGeom prst="rect">
            <a:avLst/>
          </a:prstGeom>
        </p:spPr>
      </p:pic>
      <p:sp>
        <p:nvSpPr>
          <p:cNvPr id="51" name="Left Brace 50">
            <a:extLst>
              <a:ext uri="{FF2B5EF4-FFF2-40B4-BE49-F238E27FC236}">
                <a16:creationId xmlns:a16="http://schemas.microsoft.com/office/drawing/2014/main" id="{CEE757B4-7617-0B1D-EAD3-DA6C23934C71}"/>
              </a:ext>
            </a:extLst>
          </p:cNvPr>
          <p:cNvSpPr/>
          <p:nvPr/>
        </p:nvSpPr>
        <p:spPr>
          <a:xfrm>
            <a:off x="3207895" y="1627882"/>
            <a:ext cx="100462" cy="1280160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AFAA6D71-2095-62F9-3EA2-84D2A8710A60}"/>
              </a:ext>
            </a:extLst>
          </p:cNvPr>
          <p:cNvCxnSpPr>
            <a:cxnSpLocks/>
          </p:cNvCxnSpPr>
          <p:nvPr/>
        </p:nvCxnSpPr>
        <p:spPr>
          <a:xfrm rot="10800000" flipV="1">
            <a:off x="2674887" y="2372977"/>
            <a:ext cx="528320" cy="1106908"/>
          </a:xfrm>
          <a:prstGeom prst="bentConnector2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759CB50-9D15-E266-FA22-2070E7881C25}"/>
              </a:ext>
            </a:extLst>
          </p:cNvPr>
          <p:cNvCxnSpPr>
            <a:cxnSpLocks/>
          </p:cNvCxnSpPr>
          <p:nvPr/>
        </p:nvCxnSpPr>
        <p:spPr>
          <a:xfrm>
            <a:off x="2668780" y="3477345"/>
            <a:ext cx="675640" cy="0"/>
          </a:xfrm>
          <a:prstGeom prst="line">
            <a:avLst/>
          </a:prstGeom>
          <a:ln>
            <a:tail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6" name="Left Brace 55">
            <a:extLst>
              <a:ext uri="{FF2B5EF4-FFF2-40B4-BE49-F238E27FC236}">
                <a16:creationId xmlns:a16="http://schemas.microsoft.com/office/drawing/2014/main" id="{E92C9EB5-D627-9BD4-BC5B-A64DDF46E109}"/>
              </a:ext>
            </a:extLst>
          </p:cNvPr>
          <p:cNvSpPr/>
          <p:nvPr/>
        </p:nvSpPr>
        <p:spPr>
          <a:xfrm flipH="1">
            <a:off x="7560730" y="1568375"/>
            <a:ext cx="100462" cy="1280160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50FABBCD-6ED3-F2F7-22A5-6B83DF75F32F}"/>
              </a:ext>
            </a:extLst>
          </p:cNvPr>
          <p:cNvCxnSpPr>
            <a:cxnSpLocks/>
            <a:stCxn id="56" idx="1"/>
          </p:cNvCxnSpPr>
          <p:nvPr/>
        </p:nvCxnSpPr>
        <p:spPr>
          <a:xfrm>
            <a:off x="7661192" y="2208455"/>
            <a:ext cx="106065" cy="2219730"/>
          </a:xfrm>
          <a:prstGeom prst="bentConnector2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D95D00B-6347-CCFC-957C-671B3EB27679}"/>
              </a:ext>
            </a:extLst>
          </p:cNvPr>
          <p:cNvCxnSpPr>
            <a:cxnSpLocks/>
          </p:cNvCxnSpPr>
          <p:nvPr/>
        </p:nvCxnSpPr>
        <p:spPr>
          <a:xfrm flipH="1">
            <a:off x="7497601" y="4420477"/>
            <a:ext cx="274320" cy="0"/>
          </a:xfrm>
          <a:prstGeom prst="line">
            <a:avLst/>
          </a:prstGeom>
          <a:ln>
            <a:tail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62" name="Picture 61" descr="A group of connectors and cables&#10;&#10;AI-generated content may be incorrect.">
            <a:extLst>
              <a:ext uri="{FF2B5EF4-FFF2-40B4-BE49-F238E27FC236}">
                <a16:creationId xmlns:a16="http://schemas.microsoft.com/office/drawing/2014/main" id="{8C7C35E0-1B0A-BE92-B0B1-D106E94CABE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967" y="1144802"/>
            <a:ext cx="1920240" cy="1275152"/>
          </a:xfrm>
          <a:prstGeom prst="rect">
            <a:avLst/>
          </a:prstGeom>
        </p:spPr>
      </p:pic>
      <p:pic>
        <p:nvPicPr>
          <p:cNvPr id="1024" name="Picture 1023">
            <a:extLst>
              <a:ext uri="{FF2B5EF4-FFF2-40B4-BE49-F238E27FC236}">
                <a16:creationId xmlns:a16="http://schemas.microsoft.com/office/drawing/2014/main" id="{60095195-15B0-0D27-9AFE-2515BC2617F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211" y="2557852"/>
            <a:ext cx="1819751" cy="1277394"/>
          </a:xfrm>
          <a:prstGeom prst="rect">
            <a:avLst/>
          </a:prstGeom>
        </p:spPr>
      </p:pic>
      <p:pic>
        <p:nvPicPr>
          <p:cNvPr id="1027" name="Picture 1026" descr="A close-up of several green rectangular objects&#10;&#10;AI-generated content may be incorrect.">
            <a:extLst>
              <a:ext uri="{FF2B5EF4-FFF2-40B4-BE49-F238E27FC236}">
                <a16:creationId xmlns:a16="http://schemas.microsoft.com/office/drawing/2014/main" id="{998C6A34-73BE-5E67-EB01-323BBAE7259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634" y="4073535"/>
            <a:ext cx="2009118" cy="1392742"/>
          </a:xfrm>
          <a:prstGeom prst="rect">
            <a:avLst/>
          </a:prstGeom>
        </p:spPr>
      </p:pic>
      <p:pic>
        <p:nvPicPr>
          <p:cNvPr id="1029" name="Picture 1028" descr="A close-up of a blue square with a white wire&#10;&#10;AI-generated content may be incorrect.">
            <a:extLst>
              <a:ext uri="{FF2B5EF4-FFF2-40B4-BE49-F238E27FC236}">
                <a16:creationId xmlns:a16="http://schemas.microsoft.com/office/drawing/2014/main" id="{7FB8A4B1-1FB5-D83E-5EBE-052C99D46E1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943" y="5379217"/>
            <a:ext cx="2511277" cy="136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4169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6"/>
  <p:tag name="MIO_EKGUID" val="ffce08ad-2a59-428a-9e3e-1ff373de1d3a"/>
  <p:tag name="MIO_DBID" val="6D696D5B-57A8-4113-A0DD-9B2363C6BF81"/>
  <p:tag name="MIO_OBJECTNAME" val="Americas FY24 Master"/>
  <p:tag name="MIO_VERSION" val="08.10.2024 12:57:20"/>
  <p:tag name="MIO_LASTDOWNLOADED" val="09.10.2024 09:34:45.700"/>
  <p:tag name="MIO_CONTENTTAG" val="fPt/4LtSnEC18g1YGeT2FQ=="/>
  <p:tag name="MIO_CDID" val="4d4e1c96-af88-4337-8956-068603caa811"/>
</p:tagLst>
</file>

<file path=ppt/theme/theme1.xml><?xml version="1.0" encoding="utf-8"?>
<a:theme xmlns:a="http://schemas.openxmlformats.org/drawingml/2006/main" name="1_Title, Thank You, Blank Footer Only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ptx" id="{AC822B5E-0326-4416-9B26-6E7C6E6D68A4}" vid="{591B40F9-F640-4A7B-832E-E8A49D85514E}"/>
    </a:ext>
  </a:extLst>
</a:theme>
</file>

<file path=ppt/theme/theme2.xml><?xml version="1.0" encoding="utf-8"?>
<a:theme xmlns:a="http://schemas.openxmlformats.org/drawingml/2006/main" name="2_Content Slides_Heading_Subhead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ptx" id="{AC822B5E-0326-4416-9B26-6E7C6E6D68A4}" vid="{FA441606-7807-4C25-8DED-A579DEEBB065}"/>
    </a:ext>
  </a:extLst>
</a:theme>
</file>

<file path=ppt/theme/theme3.xml><?xml version="1.0" encoding="utf-8"?>
<a:theme xmlns:a="http://schemas.openxmlformats.org/drawingml/2006/main" name="3_Content Slides_One Heading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ptx" id="{AC822B5E-0326-4416-9B26-6E7C6E6D68A4}" vid="{11EC7261-CA1B-440E-B168-30D196B0C7F0}"/>
    </a:ext>
  </a:extLst>
</a:theme>
</file>

<file path=ppt/theme/theme4.xml><?xml version="1.0" encoding="utf-8"?>
<a:theme xmlns:a="http://schemas.openxmlformats.org/drawingml/2006/main" name="Office Theme">
  <a:themeElements>
    <a:clrScheme name="Hirose Theme Colors">
      <a:dk1>
        <a:srgbClr val="000000"/>
      </a:dk1>
      <a:lt1>
        <a:srgbClr val="FFFFFF"/>
      </a:lt1>
      <a:dk2>
        <a:srgbClr val="B81C22"/>
      </a:dk2>
      <a:lt2>
        <a:srgbClr val="D9D9D9"/>
      </a:lt2>
      <a:accent1>
        <a:srgbClr val="004098"/>
      </a:accent1>
      <a:accent2>
        <a:srgbClr val="BFBFBF"/>
      </a:accent2>
      <a:accent3>
        <a:srgbClr val="00B0F0"/>
      </a:accent3>
      <a:accent4>
        <a:srgbClr val="9A9A9A"/>
      </a:accent4>
      <a:accent5>
        <a:srgbClr val="C6DEEB"/>
      </a:accent5>
      <a:accent6>
        <a:srgbClr val="77BC1F"/>
      </a:accent6>
      <a:hlink>
        <a:srgbClr val="004098"/>
      </a:hlink>
      <a:folHlink>
        <a:srgbClr val="004098"/>
      </a:folHlink>
    </a:clrScheme>
    <a:fontScheme name="Hirose Theme Fonts">
      <a:majorFont>
        <a:latin typeface="Arial"/>
        <a:ea typeface=""/>
        <a:cs typeface=""/>
      </a:majorFont>
      <a:minorFont>
        <a:latin typeface="Meiryo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Hirose Theme Colors">
      <a:dk1>
        <a:srgbClr val="000000"/>
      </a:dk1>
      <a:lt1>
        <a:srgbClr val="FFFFFF"/>
      </a:lt1>
      <a:dk2>
        <a:srgbClr val="B81C22"/>
      </a:dk2>
      <a:lt2>
        <a:srgbClr val="D9D9D9"/>
      </a:lt2>
      <a:accent1>
        <a:srgbClr val="004098"/>
      </a:accent1>
      <a:accent2>
        <a:srgbClr val="BFBFBF"/>
      </a:accent2>
      <a:accent3>
        <a:srgbClr val="00B0F0"/>
      </a:accent3>
      <a:accent4>
        <a:srgbClr val="9A9A9A"/>
      </a:accent4>
      <a:accent5>
        <a:srgbClr val="C6DEEB"/>
      </a:accent5>
      <a:accent6>
        <a:srgbClr val="77BC1F"/>
      </a:accent6>
      <a:hlink>
        <a:srgbClr val="004098"/>
      </a:hlink>
      <a:folHlink>
        <a:srgbClr val="004098"/>
      </a:folHlink>
    </a:clrScheme>
    <a:fontScheme name="Hirose Theme Fonts">
      <a:majorFont>
        <a:latin typeface="Arial"/>
        <a:ea typeface=""/>
        <a:cs typeface=""/>
      </a:majorFont>
      <a:minorFont>
        <a:latin typeface="Meiryo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9D7F8538212B049B3959F36314A749E" ma:contentTypeVersion="24" ma:contentTypeDescription="新しいドキュメントを作成します。" ma:contentTypeScope="" ma:versionID="bbacd2f58bb7fab715d6cf4c0d5ce1a7">
  <xsd:schema xmlns:xsd="http://www.w3.org/2001/XMLSchema" xmlns:xs="http://www.w3.org/2001/XMLSchema" xmlns:p="http://schemas.microsoft.com/office/2006/metadata/properties" xmlns:ns1="http://schemas.microsoft.com/sharepoint/v3" xmlns:ns2="6EC4BE3C-067F-40ED-A793-5A19CF30A0D7" xmlns:ns3="6ec4be3c-067f-40ed-a793-5a19cf30a0d7" xmlns:ns4="5e29e3c3-0c2d-43ce-b229-93612221a1d4" xmlns:ns5="http://schemas.microsoft.com/sharepoint/v4" targetNamespace="http://schemas.microsoft.com/office/2006/metadata/properties" ma:root="true" ma:fieldsID="c0abb45f51af76b84504af0a744e8ac0" ns1:_="" ns2:_="" ns3:_="" ns4:_="" ns5:_="">
    <xsd:import namespace="http://schemas.microsoft.com/sharepoint/v3"/>
    <xsd:import namespace="6EC4BE3C-067F-40ED-A793-5A19CF30A0D7"/>
    <xsd:import namespace="6ec4be3c-067f-40ed-a793-5a19cf30a0d7"/>
    <xsd:import namespace="5e29e3c3-0c2d-43ce-b229-93612221a1d4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x30e1__x30e2_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5:IconOverlay" minOccurs="0"/>
                <xsd:element ref="ns1:_vti_ItemDeclaredRecord" minOccurs="0"/>
                <xsd:element ref="ns1:_vti_ItemHoldRecordStatu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22" nillable="true" ma:displayName="宣言済みのレコード" ma:hidden="true" ma:internalName="_vti_ItemDeclaredRecord" ma:readOnly="true">
      <xsd:simpleType>
        <xsd:restriction base="dms:DateTime"/>
      </xsd:simpleType>
    </xsd:element>
    <xsd:element name="_vti_ItemHoldRecordStatus" ma:index="23" nillable="true" ma:displayName="保留とレコードの状態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C4BE3C-067F-40ED-A793-5A19CF30A0D7" elementFormDefault="qualified">
    <xsd:import namespace="http://schemas.microsoft.com/office/2006/documentManagement/types"/>
    <xsd:import namespace="http://schemas.microsoft.com/office/infopath/2007/PartnerControls"/>
    <xsd:element name="_x30e1__x30e2_" ma:index="8" nillable="true" ma:displayName="備考" ma:internalName="_x30e1__x30e2_" ma:readOnly="false">
      <xsd:simpleType>
        <xsd:restriction base="dms:Text">
          <xsd:maxLength value="2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c4be3c-067f-40ed-a793-5a19cf30a0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画像タグ" ma:readOnly="false" ma:fieldId="{5cf76f15-5ced-4ddc-b409-7134ff3c332f}" ma:taxonomyMulti="true" ma:sspId="a4ca2407-f6c7-4c55-87e4-f899293a26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29e3c3-0c2d-43ce-b229-93612221a1d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共有相手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f05ca83c-ab9d-4008-96aa-3ce103c34105}" ma:internalName="TaxCatchAll" ma:showField="CatchAllData" ma:web="5e29e3c3-0c2d-43ce-b229-93612221a1d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TaxCatchAll xmlns="5e29e3c3-0c2d-43ce-b229-93612221a1d4" xsi:nil="true"/>
    <_x30e1__x30e2_ xmlns="6EC4BE3C-067F-40ED-A793-5A19CF30A0D7" xsi:nil="true"/>
    <lcf76f155ced4ddcb4097134ff3c332f xmlns="6ec4be3c-067f-40ed-a793-5a19cf30a0d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870286D-249B-4DFB-B166-BF17F1734A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EC4BE3C-067F-40ED-A793-5A19CF30A0D7"/>
    <ds:schemaRef ds:uri="6ec4be3c-067f-40ed-a793-5a19cf30a0d7"/>
    <ds:schemaRef ds:uri="5e29e3c3-0c2d-43ce-b229-93612221a1d4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87419D4-4633-4760-8F85-DDF4EBE163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FC8E58-6250-4ABE-8530-DE7BEB64AB06}">
  <ds:schemaRefs>
    <ds:schemaRef ds:uri="http://purl.org/dc/dcmitype/"/>
    <ds:schemaRef ds:uri="http://purl.org/dc/terms/"/>
    <ds:schemaRef ds:uri="http://www.w3.org/XML/1998/namespace"/>
    <ds:schemaRef ds:uri="http://schemas.microsoft.com/sharepoint/v3"/>
    <ds:schemaRef ds:uri="6EC4BE3C-067F-40ED-A793-5A19CF30A0D7"/>
    <ds:schemaRef ds:uri="6ec4be3c-067f-40ed-a793-5a19cf30a0d7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sharepoint/v4"/>
    <ds:schemaRef ds:uri="5e29e3c3-0c2d-43ce-b229-93612221a1d4"/>
  </ds:schemaRefs>
</ds:datastoreItem>
</file>

<file path=docMetadata/LabelInfo.xml><?xml version="1.0" encoding="utf-8"?>
<clbl:labelList xmlns:clbl="http://schemas.microsoft.com/office/2020/mipLabelMetadata">
  <clbl:label id="{b4118fe0-9656-4cae-a15e-c825742e9fb3}" enabled="0" method="" siteId="{b4118fe0-9656-4cae-a15e-c825742e9fb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8</TotalTime>
  <Words>262</Words>
  <Application>Microsoft Office PowerPoint</Application>
  <PresentationFormat>Widescreen</PresentationFormat>
  <Paragraphs>87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Meiryo UI</vt:lpstr>
      <vt:lpstr>Aptos</vt:lpstr>
      <vt:lpstr>Arial</vt:lpstr>
      <vt:lpstr>Helvetica</vt:lpstr>
      <vt:lpstr>1_Title, Thank You, Blank Footer Only</vt:lpstr>
      <vt:lpstr>2_Content Slides_Heading_Subhead</vt:lpstr>
      <vt:lpstr>3_Content Slides_One Heading</vt:lpstr>
      <vt:lpstr>Hirose Connectors – GNSS Antenna/Receiver</vt:lpstr>
      <vt:lpstr>GNSS Antenna/Receiv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zumi Homma</dc:creator>
  <cp:lastModifiedBy>Danette Lince</cp:lastModifiedBy>
  <cp:revision>15</cp:revision>
  <dcterms:created xsi:type="dcterms:W3CDTF">2025-07-08T16:34:58Z</dcterms:created>
  <dcterms:modified xsi:type="dcterms:W3CDTF">2025-11-04T16:4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D7F8538212B049B3959F36314A749E</vt:lpwstr>
  </property>
  <property fmtid="{D5CDD505-2E9C-101B-9397-08002B2CF9AE}" pid="3" name="MediaServiceImageTags">
    <vt:lpwstr/>
  </property>
</Properties>
</file>